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419" r:id="rId3"/>
    <p:sldId id="297" r:id="rId4"/>
    <p:sldId id="418" r:id="rId5"/>
    <p:sldId id="421" r:id="rId6"/>
    <p:sldId id="278" r:id="rId7"/>
    <p:sldId id="261" r:id="rId8"/>
    <p:sldId id="265" r:id="rId9"/>
    <p:sldId id="266" r:id="rId10"/>
    <p:sldId id="267" r:id="rId11"/>
    <p:sldId id="269" r:id="rId12"/>
    <p:sldId id="422" r:id="rId13"/>
    <p:sldId id="42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1B93"/>
    <a:srgbClr val="0D21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5EC85E-9467-4950-BADD-83053386297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0E9467-94F1-4A73-9389-2BD41B027D6A}">
      <dgm:prSet phldrT="[Text]"/>
      <dgm:spPr/>
      <dgm:t>
        <a:bodyPr/>
        <a:lstStyle/>
        <a:p>
          <a:r>
            <a:rPr lang="en-US" dirty="0"/>
            <a:t>Overall Benefits</a:t>
          </a:r>
        </a:p>
      </dgm:t>
    </dgm:pt>
    <dgm:pt modelId="{308B2EE8-7DC1-4883-853D-610FD691B85E}" type="parTrans" cxnId="{07F43930-D87E-45E2-B949-59CF7FA3F994}">
      <dgm:prSet/>
      <dgm:spPr/>
      <dgm:t>
        <a:bodyPr/>
        <a:lstStyle/>
        <a:p>
          <a:endParaRPr lang="en-US"/>
        </a:p>
      </dgm:t>
    </dgm:pt>
    <dgm:pt modelId="{43016795-5FE7-4887-8C26-97BD44168DE5}" type="sibTrans" cxnId="{07F43930-D87E-45E2-B949-59CF7FA3F994}">
      <dgm:prSet/>
      <dgm:spPr/>
      <dgm:t>
        <a:bodyPr/>
        <a:lstStyle/>
        <a:p>
          <a:endParaRPr lang="en-US"/>
        </a:p>
      </dgm:t>
    </dgm:pt>
    <dgm:pt modelId="{58AB0136-ADB7-41B2-9626-ED3443C244FB}">
      <dgm:prSet phldrT="[Text]"/>
      <dgm:spPr/>
      <dgm:t>
        <a:bodyPr/>
        <a:lstStyle/>
        <a:p>
          <a:r>
            <a:rPr lang="en-US" dirty="0"/>
            <a:t>Works across all the P&amp;C insurance platforms</a:t>
          </a:r>
        </a:p>
      </dgm:t>
    </dgm:pt>
    <dgm:pt modelId="{B6C4B63B-FC58-430D-AD88-BA83223F44C1}" type="parTrans" cxnId="{8D9D2FFC-3BD2-4FCA-BDC6-63D8A15556A3}">
      <dgm:prSet/>
      <dgm:spPr/>
      <dgm:t>
        <a:bodyPr/>
        <a:lstStyle/>
        <a:p>
          <a:endParaRPr lang="en-US"/>
        </a:p>
      </dgm:t>
    </dgm:pt>
    <dgm:pt modelId="{DF965834-0DF6-4977-8BE6-DD00EC3B53D0}" type="sibTrans" cxnId="{8D9D2FFC-3BD2-4FCA-BDC6-63D8A15556A3}">
      <dgm:prSet/>
      <dgm:spPr/>
      <dgm:t>
        <a:bodyPr/>
        <a:lstStyle/>
        <a:p>
          <a:endParaRPr lang="en-US"/>
        </a:p>
      </dgm:t>
    </dgm:pt>
    <dgm:pt modelId="{A184C0B2-8285-4B7E-985C-D859FF048C64}">
      <dgm:prSet phldrT="[Text]"/>
      <dgm:spPr/>
      <dgm:t>
        <a:bodyPr/>
        <a:lstStyle/>
        <a:p>
          <a:r>
            <a:rPr lang="en-US" dirty="0"/>
            <a:t>Support Agile development</a:t>
          </a:r>
        </a:p>
      </dgm:t>
    </dgm:pt>
    <dgm:pt modelId="{C2D8D3AB-1DEC-4084-8C74-D5816B32CCBA}" type="parTrans" cxnId="{5CAF25CE-2A1A-4140-8A76-2A4E3C365A89}">
      <dgm:prSet/>
      <dgm:spPr/>
      <dgm:t>
        <a:bodyPr/>
        <a:lstStyle/>
        <a:p>
          <a:endParaRPr lang="en-US"/>
        </a:p>
      </dgm:t>
    </dgm:pt>
    <dgm:pt modelId="{6BA68892-A9AB-49FE-B222-E61641EC1877}" type="sibTrans" cxnId="{5CAF25CE-2A1A-4140-8A76-2A4E3C365A89}">
      <dgm:prSet/>
      <dgm:spPr/>
      <dgm:t>
        <a:bodyPr/>
        <a:lstStyle/>
        <a:p>
          <a:endParaRPr lang="en-US"/>
        </a:p>
      </dgm:t>
    </dgm:pt>
    <dgm:pt modelId="{42CF211C-C4D3-4BAA-9198-291FBAAE01F5}">
      <dgm:prSet phldrT="[Text]"/>
      <dgm:spPr/>
      <dgm:t>
        <a:bodyPr/>
        <a:lstStyle/>
        <a:p>
          <a:r>
            <a:rPr lang="en-US" dirty="0"/>
            <a:t>Increase Automation	</a:t>
          </a:r>
        </a:p>
      </dgm:t>
    </dgm:pt>
    <dgm:pt modelId="{C427FF45-DB50-4B15-B7A6-81DAF612F8D0}" type="parTrans" cxnId="{EC1DCAFD-1FBA-4419-8AC8-C3CE117194E4}">
      <dgm:prSet/>
      <dgm:spPr/>
      <dgm:t>
        <a:bodyPr/>
        <a:lstStyle/>
        <a:p>
          <a:endParaRPr lang="en-US"/>
        </a:p>
      </dgm:t>
    </dgm:pt>
    <dgm:pt modelId="{935FB07B-C4F3-4FF3-A249-36CA53BE5A84}" type="sibTrans" cxnId="{EC1DCAFD-1FBA-4419-8AC8-C3CE117194E4}">
      <dgm:prSet/>
      <dgm:spPr/>
      <dgm:t>
        <a:bodyPr/>
        <a:lstStyle/>
        <a:p>
          <a:endParaRPr lang="en-US"/>
        </a:p>
      </dgm:t>
    </dgm:pt>
    <dgm:pt modelId="{9040D1C8-F01A-4373-88D4-616C582C0D3F}">
      <dgm:prSet phldrT="[Text]"/>
      <dgm:spPr/>
      <dgm:t>
        <a:bodyPr/>
        <a:lstStyle/>
        <a:p>
          <a:r>
            <a:rPr lang="en-US" dirty="0"/>
            <a:t>Supports progression testing of new features is possible</a:t>
          </a:r>
        </a:p>
      </dgm:t>
    </dgm:pt>
    <dgm:pt modelId="{AC72B872-012F-405B-9662-262B317E410A}" type="parTrans" cxnId="{A290F785-CEF9-4725-B88B-6813599B99D4}">
      <dgm:prSet/>
      <dgm:spPr/>
      <dgm:t>
        <a:bodyPr/>
        <a:lstStyle/>
        <a:p>
          <a:endParaRPr lang="en-US"/>
        </a:p>
      </dgm:t>
    </dgm:pt>
    <dgm:pt modelId="{0D9282E1-EDDF-4165-BD39-4709212C8648}" type="sibTrans" cxnId="{A290F785-CEF9-4725-B88B-6813599B99D4}">
      <dgm:prSet/>
      <dgm:spPr/>
      <dgm:t>
        <a:bodyPr/>
        <a:lstStyle/>
        <a:p>
          <a:endParaRPr lang="en-US"/>
        </a:p>
      </dgm:t>
    </dgm:pt>
    <dgm:pt modelId="{B2DA9857-3A26-46FB-BA10-740D9C81C484}">
      <dgm:prSet phldrT="[Text]"/>
      <dgm:spPr/>
      <dgm:t>
        <a:bodyPr/>
        <a:lstStyle/>
        <a:p>
          <a:r>
            <a:rPr lang="en-US" dirty="0"/>
            <a:t>Enable Manual/Functional testers to do test automation</a:t>
          </a:r>
        </a:p>
      </dgm:t>
    </dgm:pt>
    <dgm:pt modelId="{49574EEF-AB49-4318-8B03-22C9F22006ED}" type="parTrans" cxnId="{4C296654-A984-493F-9CCD-69CD58F2997A}">
      <dgm:prSet/>
      <dgm:spPr/>
      <dgm:t>
        <a:bodyPr/>
        <a:lstStyle/>
        <a:p>
          <a:endParaRPr lang="en-US"/>
        </a:p>
      </dgm:t>
    </dgm:pt>
    <dgm:pt modelId="{0ECCB59F-FE2A-47DD-AC4E-A5B2B13D7439}" type="sibTrans" cxnId="{4C296654-A984-493F-9CCD-69CD58F2997A}">
      <dgm:prSet/>
      <dgm:spPr/>
      <dgm:t>
        <a:bodyPr/>
        <a:lstStyle/>
        <a:p>
          <a:endParaRPr lang="en-US"/>
        </a:p>
      </dgm:t>
    </dgm:pt>
    <dgm:pt modelId="{F21FA1D6-5FA6-471B-985A-DE5DDB645918}">
      <dgm:prSet phldrT="[Text]"/>
      <dgm:spPr/>
      <dgm:t>
        <a:bodyPr/>
        <a:lstStyle/>
        <a:p>
          <a:r>
            <a:rPr lang="en-US" dirty="0"/>
            <a:t>Save Testing Effort</a:t>
          </a:r>
        </a:p>
      </dgm:t>
    </dgm:pt>
    <dgm:pt modelId="{B118A24E-D660-44E6-B3B1-71BD1601C806}" type="parTrans" cxnId="{DCAE3259-4653-42F0-8CBC-EF0D37C002B5}">
      <dgm:prSet/>
      <dgm:spPr/>
      <dgm:t>
        <a:bodyPr/>
        <a:lstStyle/>
        <a:p>
          <a:endParaRPr lang="en-US"/>
        </a:p>
      </dgm:t>
    </dgm:pt>
    <dgm:pt modelId="{07EBCB5E-553C-4C09-ADE8-8B1275BAC5DB}" type="sibTrans" cxnId="{DCAE3259-4653-42F0-8CBC-EF0D37C002B5}">
      <dgm:prSet/>
      <dgm:spPr/>
      <dgm:t>
        <a:bodyPr/>
        <a:lstStyle/>
        <a:p>
          <a:endParaRPr lang="en-US"/>
        </a:p>
      </dgm:t>
    </dgm:pt>
    <dgm:pt modelId="{BB709FEC-8290-492D-8EBD-C598AF951D56}">
      <dgm:prSet phldrT="[Text]"/>
      <dgm:spPr/>
      <dgm:t>
        <a:bodyPr/>
        <a:lstStyle/>
        <a:p>
          <a:r>
            <a:rPr lang="en-US" dirty="0"/>
            <a:t>Reduce effort across testing lifecycle, test design and execution by optimizing the test cases</a:t>
          </a:r>
        </a:p>
      </dgm:t>
    </dgm:pt>
    <dgm:pt modelId="{9A02229E-56DE-44A8-BC1F-52BCF439DEE0}" type="parTrans" cxnId="{B36A2C88-6846-4EB9-946F-97F25CE99FFB}">
      <dgm:prSet/>
      <dgm:spPr/>
      <dgm:t>
        <a:bodyPr/>
        <a:lstStyle/>
        <a:p>
          <a:endParaRPr lang="en-US"/>
        </a:p>
      </dgm:t>
    </dgm:pt>
    <dgm:pt modelId="{E94E202B-6ED8-4AA8-8232-2776BBD73F91}" type="sibTrans" cxnId="{B36A2C88-6846-4EB9-946F-97F25CE99FFB}">
      <dgm:prSet/>
      <dgm:spPr/>
      <dgm:t>
        <a:bodyPr/>
        <a:lstStyle/>
        <a:p>
          <a:endParaRPr lang="en-US"/>
        </a:p>
      </dgm:t>
    </dgm:pt>
    <dgm:pt modelId="{22CFDE32-CF31-4031-B035-36C67C8D1CAD}">
      <dgm:prSet phldrT="[Text]"/>
      <dgm:spPr/>
      <dgm:t>
        <a:bodyPr/>
        <a:lstStyle/>
        <a:p>
          <a:r>
            <a:rPr lang="en-US" dirty="0"/>
            <a:t>Faster script development</a:t>
          </a:r>
        </a:p>
      </dgm:t>
    </dgm:pt>
    <dgm:pt modelId="{6EC5A84F-53D6-4839-8AA0-11887046745A}" type="parTrans" cxnId="{E317374D-113B-4EAF-840B-B357D200DE14}">
      <dgm:prSet/>
      <dgm:spPr/>
      <dgm:t>
        <a:bodyPr/>
        <a:lstStyle/>
        <a:p>
          <a:endParaRPr lang="en-US"/>
        </a:p>
      </dgm:t>
    </dgm:pt>
    <dgm:pt modelId="{19792830-421E-468F-889F-606DDCC3B363}" type="sibTrans" cxnId="{E317374D-113B-4EAF-840B-B357D200DE14}">
      <dgm:prSet/>
      <dgm:spPr/>
      <dgm:t>
        <a:bodyPr/>
        <a:lstStyle/>
        <a:p>
          <a:endParaRPr lang="en-US"/>
        </a:p>
      </dgm:t>
    </dgm:pt>
    <dgm:pt modelId="{4FECA7C3-008F-4B93-9A2D-9D3D1FB570C4}">
      <dgm:prSet phldrT="[Text]"/>
      <dgm:spPr/>
      <dgm:t>
        <a:bodyPr/>
        <a:lstStyle/>
        <a:p>
          <a:r>
            <a:rPr lang="en-US" dirty="0"/>
            <a:t>Shorten Time To Market</a:t>
          </a:r>
        </a:p>
      </dgm:t>
    </dgm:pt>
    <dgm:pt modelId="{0FCB2592-4490-48A9-A0BB-A369A4B0EADD}" type="parTrans" cxnId="{7A8AAACA-DE75-48CF-A27A-40EB5409FB59}">
      <dgm:prSet/>
      <dgm:spPr/>
      <dgm:t>
        <a:bodyPr/>
        <a:lstStyle/>
        <a:p>
          <a:endParaRPr lang="en-US"/>
        </a:p>
      </dgm:t>
    </dgm:pt>
    <dgm:pt modelId="{96015FB6-3B9B-41C4-8D7F-645F06968D18}" type="sibTrans" cxnId="{7A8AAACA-DE75-48CF-A27A-40EB5409FB59}">
      <dgm:prSet/>
      <dgm:spPr/>
      <dgm:t>
        <a:bodyPr/>
        <a:lstStyle/>
        <a:p>
          <a:endParaRPr lang="en-US"/>
        </a:p>
      </dgm:t>
    </dgm:pt>
    <dgm:pt modelId="{ABB352E5-E415-492F-8190-4815EF4D39B2}">
      <dgm:prSet phldrT="[Text]"/>
      <dgm:spPr/>
      <dgm:t>
        <a:bodyPr/>
        <a:lstStyle/>
        <a:p>
          <a:r>
            <a:rPr lang="en-US" dirty="0"/>
            <a:t>Start automation activity early</a:t>
          </a:r>
        </a:p>
      </dgm:t>
    </dgm:pt>
    <dgm:pt modelId="{C2A07BE5-59B8-4F7E-8F0D-CF1DD865D31F}" type="parTrans" cxnId="{6BD7AC1D-F2A6-4127-B161-59FF1847C13B}">
      <dgm:prSet/>
      <dgm:spPr/>
      <dgm:t>
        <a:bodyPr/>
        <a:lstStyle/>
        <a:p>
          <a:endParaRPr lang="en-US"/>
        </a:p>
      </dgm:t>
    </dgm:pt>
    <dgm:pt modelId="{F1211209-52B4-4E86-AD2D-82067D575E6D}" type="sibTrans" cxnId="{6BD7AC1D-F2A6-4127-B161-59FF1847C13B}">
      <dgm:prSet/>
      <dgm:spPr/>
      <dgm:t>
        <a:bodyPr/>
        <a:lstStyle/>
        <a:p>
          <a:endParaRPr lang="en-US"/>
        </a:p>
      </dgm:t>
    </dgm:pt>
    <dgm:pt modelId="{EEBD9BBC-55B8-4FD3-8299-66C00177B6BA}">
      <dgm:prSet phldrT="[Text]"/>
      <dgm:spPr/>
      <dgm:t>
        <a:bodyPr/>
        <a:lstStyle/>
        <a:p>
          <a:r>
            <a:rPr lang="en-US" dirty="0"/>
            <a:t>Write manual test cases that automate easily</a:t>
          </a:r>
        </a:p>
      </dgm:t>
    </dgm:pt>
    <dgm:pt modelId="{0FA1CD69-37C9-4379-8CAE-BB0436D00944}" type="parTrans" cxnId="{3DF2C681-831F-437E-AF87-5724A698B4D5}">
      <dgm:prSet/>
      <dgm:spPr/>
      <dgm:t>
        <a:bodyPr/>
        <a:lstStyle/>
        <a:p>
          <a:endParaRPr lang="en-US"/>
        </a:p>
      </dgm:t>
    </dgm:pt>
    <dgm:pt modelId="{F5B92CD2-D5CB-484E-BF43-D212F5690476}" type="sibTrans" cxnId="{3DF2C681-831F-437E-AF87-5724A698B4D5}">
      <dgm:prSet/>
      <dgm:spPr/>
      <dgm:t>
        <a:bodyPr/>
        <a:lstStyle/>
        <a:p>
          <a:endParaRPr lang="en-US"/>
        </a:p>
      </dgm:t>
    </dgm:pt>
    <dgm:pt modelId="{E71543C0-70D3-46B5-9703-FB2F9590D740}">
      <dgm:prSet phldrT="[Text]"/>
      <dgm:spPr/>
      <dgm:t>
        <a:bodyPr/>
        <a:lstStyle/>
        <a:p>
          <a:r>
            <a:rPr lang="en-US" dirty="0"/>
            <a:t>Support Functional and Regression Automation</a:t>
          </a:r>
        </a:p>
      </dgm:t>
    </dgm:pt>
    <dgm:pt modelId="{38C0FCBA-75F5-400B-A693-61229277EAD1}" type="parTrans" cxnId="{72EDCE79-A32D-49DD-9AA1-AC6DCC92CA0A}">
      <dgm:prSet/>
      <dgm:spPr/>
      <dgm:t>
        <a:bodyPr/>
        <a:lstStyle/>
        <a:p>
          <a:endParaRPr lang="en-US"/>
        </a:p>
      </dgm:t>
    </dgm:pt>
    <dgm:pt modelId="{B9177ABE-E69C-43E7-BB33-C59EE9178E78}" type="sibTrans" cxnId="{72EDCE79-A32D-49DD-9AA1-AC6DCC92CA0A}">
      <dgm:prSet/>
      <dgm:spPr/>
      <dgm:t>
        <a:bodyPr/>
        <a:lstStyle/>
        <a:p>
          <a:endParaRPr lang="en-US"/>
        </a:p>
      </dgm:t>
    </dgm:pt>
    <dgm:pt modelId="{48EA9AA4-BE56-4CF4-9AF5-929C8F9322A9}">
      <dgm:prSet phldrT="[Text]"/>
      <dgm:spPr/>
      <dgm:t>
        <a:bodyPr/>
        <a:lstStyle/>
        <a:p>
          <a:r>
            <a:rPr lang="en-US" dirty="0"/>
            <a:t>Support Web and API testing</a:t>
          </a:r>
        </a:p>
      </dgm:t>
    </dgm:pt>
    <dgm:pt modelId="{C78E186F-C406-4E81-B35E-331FBE199A73}" type="parTrans" cxnId="{A515F81B-DFA1-4197-98A0-319F82B9842E}">
      <dgm:prSet/>
      <dgm:spPr/>
      <dgm:t>
        <a:bodyPr/>
        <a:lstStyle/>
        <a:p>
          <a:endParaRPr lang="en-US"/>
        </a:p>
      </dgm:t>
    </dgm:pt>
    <dgm:pt modelId="{23386099-1972-4E0A-A01B-8BCFC7431CE1}" type="sibTrans" cxnId="{A515F81B-DFA1-4197-98A0-319F82B9842E}">
      <dgm:prSet/>
      <dgm:spPr/>
      <dgm:t>
        <a:bodyPr/>
        <a:lstStyle/>
        <a:p>
          <a:endParaRPr lang="en-US"/>
        </a:p>
      </dgm:t>
    </dgm:pt>
    <dgm:pt modelId="{FF4F50C4-19FC-45A1-B435-48E6F62E2461}">
      <dgm:prSet phldrT="[Text]"/>
      <dgm:spPr/>
      <dgm:t>
        <a:bodyPr/>
        <a:lstStyle/>
        <a:p>
          <a:r>
            <a:rPr lang="en-US" dirty="0"/>
            <a:t>Support Cross Browser testing</a:t>
          </a:r>
        </a:p>
      </dgm:t>
    </dgm:pt>
    <dgm:pt modelId="{3533672B-ECA7-4C41-A275-586434C0F4F9}" type="parTrans" cxnId="{DBC01A23-5393-462F-8AE9-009A0812D28A}">
      <dgm:prSet/>
      <dgm:spPr/>
      <dgm:t>
        <a:bodyPr/>
        <a:lstStyle/>
        <a:p>
          <a:endParaRPr lang="en-US"/>
        </a:p>
      </dgm:t>
    </dgm:pt>
    <dgm:pt modelId="{AD15B933-1289-4D7E-AA1E-7C617B4823AD}" type="sibTrans" cxnId="{DBC01A23-5393-462F-8AE9-009A0812D28A}">
      <dgm:prSet/>
      <dgm:spPr/>
      <dgm:t>
        <a:bodyPr/>
        <a:lstStyle/>
        <a:p>
          <a:endParaRPr lang="en-US"/>
        </a:p>
      </dgm:t>
    </dgm:pt>
    <dgm:pt modelId="{FBEAC2EF-85DF-4F37-9427-CA39467008B3}">
      <dgm:prSet phldrT="[Text]"/>
      <dgm:spPr/>
      <dgm:t>
        <a:bodyPr/>
        <a:lstStyle/>
        <a:p>
          <a:r>
            <a:rPr lang="en-US" dirty="0"/>
            <a:t>40-50% effort reduction in script development saves the project overall timelines with maximum automation coverage</a:t>
          </a:r>
        </a:p>
      </dgm:t>
    </dgm:pt>
    <dgm:pt modelId="{DA4EE488-E46B-4F38-9B1B-AD9A2B4F0829}" type="parTrans" cxnId="{5A56AB1C-3CAC-4BD7-AC84-49C96E6F73CA}">
      <dgm:prSet/>
      <dgm:spPr/>
      <dgm:t>
        <a:bodyPr/>
        <a:lstStyle/>
        <a:p>
          <a:endParaRPr lang="en-US"/>
        </a:p>
      </dgm:t>
    </dgm:pt>
    <dgm:pt modelId="{B6896C48-598A-43B0-8A3E-50BA11C75A46}" type="sibTrans" cxnId="{5A56AB1C-3CAC-4BD7-AC84-49C96E6F73CA}">
      <dgm:prSet/>
      <dgm:spPr/>
      <dgm:t>
        <a:bodyPr/>
        <a:lstStyle/>
        <a:p>
          <a:endParaRPr lang="en-US"/>
        </a:p>
      </dgm:t>
    </dgm:pt>
    <dgm:pt modelId="{818BDD79-3DA0-42BE-A6CB-7242CD960DEC}">
      <dgm:prSet phldrT="[Text]"/>
      <dgm:spPr/>
      <dgm:t>
        <a:bodyPr/>
        <a:lstStyle/>
        <a:p>
          <a:r>
            <a:rPr lang="en-US" dirty="0"/>
            <a:t> 20-25% effort reduction in test design phase</a:t>
          </a:r>
        </a:p>
      </dgm:t>
    </dgm:pt>
    <dgm:pt modelId="{5634EBE4-F7D3-4889-8BAC-5220F9F98DF6}" type="parTrans" cxnId="{1DDC29CC-3E8B-4E38-B386-3C0A112EFED1}">
      <dgm:prSet/>
      <dgm:spPr/>
      <dgm:t>
        <a:bodyPr/>
        <a:lstStyle/>
        <a:p>
          <a:endParaRPr lang="en-US"/>
        </a:p>
      </dgm:t>
    </dgm:pt>
    <dgm:pt modelId="{6DA8F99A-0C1A-4750-BE77-5F55411C24AB}" type="sibTrans" cxnId="{1DDC29CC-3E8B-4E38-B386-3C0A112EFED1}">
      <dgm:prSet/>
      <dgm:spPr/>
      <dgm:t>
        <a:bodyPr/>
        <a:lstStyle/>
        <a:p>
          <a:endParaRPr lang="en-US"/>
        </a:p>
      </dgm:t>
    </dgm:pt>
    <dgm:pt modelId="{9B096BA5-E1EC-42F4-B088-FD1C5DC21643}">
      <dgm:prSet phldrT="[Text]"/>
      <dgm:spPr/>
      <dgm:t>
        <a:bodyPr/>
        <a:lstStyle/>
        <a:p>
          <a:r>
            <a:rPr lang="en-US" dirty="0"/>
            <a:t>Anyone can automate</a:t>
          </a:r>
        </a:p>
      </dgm:t>
    </dgm:pt>
    <dgm:pt modelId="{D1F36733-109B-45E4-B244-037ADD14073C}" type="parTrans" cxnId="{7A955D9D-46FD-4FCD-91F2-38368F2E9ECB}">
      <dgm:prSet/>
      <dgm:spPr/>
      <dgm:t>
        <a:bodyPr/>
        <a:lstStyle/>
        <a:p>
          <a:endParaRPr lang="en-US"/>
        </a:p>
      </dgm:t>
    </dgm:pt>
    <dgm:pt modelId="{DCCA6E9D-41D9-40A8-843F-14592BB7F512}" type="sibTrans" cxnId="{7A955D9D-46FD-4FCD-91F2-38368F2E9ECB}">
      <dgm:prSet/>
      <dgm:spPr/>
      <dgm:t>
        <a:bodyPr/>
        <a:lstStyle/>
        <a:p>
          <a:endParaRPr lang="en-US"/>
        </a:p>
      </dgm:t>
    </dgm:pt>
    <dgm:pt modelId="{71F1F3AA-4072-44E3-A116-E71E088AA39D}">
      <dgm:prSet phldrT="[Text]"/>
      <dgm:spPr/>
      <dgm:t>
        <a:bodyPr/>
        <a:lstStyle/>
        <a:p>
          <a:r>
            <a:rPr lang="en-US" dirty="0"/>
            <a:t>Flexible execution reports with screen recording feature</a:t>
          </a:r>
        </a:p>
      </dgm:t>
    </dgm:pt>
    <dgm:pt modelId="{9A7B9960-FF3A-4DCE-ADC9-E4B780718726}" type="parTrans" cxnId="{B7C9088F-B36B-414D-BFD6-47B6919F3B6B}">
      <dgm:prSet/>
      <dgm:spPr/>
      <dgm:t>
        <a:bodyPr/>
        <a:lstStyle/>
        <a:p>
          <a:endParaRPr lang="en-US"/>
        </a:p>
      </dgm:t>
    </dgm:pt>
    <dgm:pt modelId="{2FE7AA31-897B-434A-82F4-40F0FF46EEBC}" type="sibTrans" cxnId="{B7C9088F-B36B-414D-BFD6-47B6919F3B6B}">
      <dgm:prSet/>
      <dgm:spPr/>
      <dgm:t>
        <a:bodyPr/>
        <a:lstStyle/>
        <a:p>
          <a:endParaRPr lang="en-US"/>
        </a:p>
      </dgm:t>
    </dgm:pt>
    <dgm:pt modelId="{55B15AE2-53D4-4624-AAEF-4EA9E6D8323E}">
      <dgm:prSet phldrT="[Text]"/>
      <dgm:spPr/>
      <dgm:t>
        <a:bodyPr/>
        <a:lstStyle/>
        <a:p>
          <a:r>
            <a:rPr lang="en-US" dirty="0"/>
            <a:t>No Synchronization issues as the framework handles it automatically</a:t>
          </a:r>
        </a:p>
      </dgm:t>
    </dgm:pt>
    <dgm:pt modelId="{D91A5862-0582-4243-B7D3-FB3EB00E0371}" type="parTrans" cxnId="{8CD7631F-1CC5-42EB-8DE0-4B8B4067BA55}">
      <dgm:prSet/>
      <dgm:spPr/>
      <dgm:t>
        <a:bodyPr/>
        <a:lstStyle/>
        <a:p>
          <a:endParaRPr lang="en-US"/>
        </a:p>
      </dgm:t>
    </dgm:pt>
    <dgm:pt modelId="{884BAE47-6017-467F-83BC-59BCAC758A3A}" type="sibTrans" cxnId="{8CD7631F-1CC5-42EB-8DE0-4B8B4067BA55}">
      <dgm:prSet/>
      <dgm:spPr/>
      <dgm:t>
        <a:bodyPr/>
        <a:lstStyle/>
        <a:p>
          <a:endParaRPr lang="en-US"/>
        </a:p>
      </dgm:t>
    </dgm:pt>
    <dgm:pt modelId="{CE1B9E9B-54DF-405D-ABEF-68BBAE665DC9}">
      <dgm:prSet phldrT="[Text]"/>
      <dgm:spPr/>
      <dgm:t>
        <a:bodyPr/>
        <a:lstStyle/>
        <a:p>
          <a:r>
            <a:rPr lang="en-US" dirty="0"/>
            <a:t>Less execution time comparing to other frameworks</a:t>
          </a:r>
        </a:p>
      </dgm:t>
    </dgm:pt>
    <dgm:pt modelId="{79464CDD-EF6C-46FA-9320-08AF3E43D53F}" type="parTrans" cxnId="{21D65E37-1087-4FEC-A1D5-41BA69BA0BFF}">
      <dgm:prSet/>
      <dgm:spPr/>
      <dgm:t>
        <a:bodyPr/>
        <a:lstStyle/>
        <a:p>
          <a:endParaRPr lang="en-US"/>
        </a:p>
      </dgm:t>
    </dgm:pt>
    <dgm:pt modelId="{3DA248B9-C9BA-4D48-9A8F-A738C600454C}" type="sibTrans" cxnId="{21D65E37-1087-4FEC-A1D5-41BA69BA0BFF}">
      <dgm:prSet/>
      <dgm:spPr/>
      <dgm:t>
        <a:bodyPr/>
        <a:lstStyle/>
        <a:p>
          <a:endParaRPr lang="en-US"/>
        </a:p>
      </dgm:t>
    </dgm:pt>
    <dgm:pt modelId="{694B97B5-8993-4E09-AF27-3111E8FF57A6}">
      <dgm:prSet phldrT="[Text]"/>
      <dgm:spPr/>
      <dgm:t>
        <a:bodyPr/>
        <a:lstStyle/>
        <a:p>
          <a:endParaRPr lang="en-US" dirty="0"/>
        </a:p>
      </dgm:t>
    </dgm:pt>
    <dgm:pt modelId="{2C861104-8AB5-4B48-8EDA-7459A41456E0}" type="parTrans" cxnId="{075471CB-AF60-44F9-94EC-0B871FB6C18F}">
      <dgm:prSet/>
      <dgm:spPr/>
      <dgm:t>
        <a:bodyPr/>
        <a:lstStyle/>
        <a:p>
          <a:endParaRPr lang="en-US"/>
        </a:p>
      </dgm:t>
    </dgm:pt>
    <dgm:pt modelId="{1BD2B6C4-A8F7-4B51-876F-167BD068E348}" type="sibTrans" cxnId="{075471CB-AF60-44F9-94EC-0B871FB6C18F}">
      <dgm:prSet/>
      <dgm:spPr/>
      <dgm:t>
        <a:bodyPr/>
        <a:lstStyle/>
        <a:p>
          <a:endParaRPr lang="en-US"/>
        </a:p>
      </dgm:t>
    </dgm:pt>
    <dgm:pt modelId="{BF391E15-2904-439F-AADD-7FA2F259BAA0}">
      <dgm:prSet phldrT="[Text]"/>
      <dgm:spPr/>
      <dgm:t>
        <a:bodyPr/>
        <a:lstStyle/>
        <a:p>
          <a:r>
            <a:rPr lang="en-US" dirty="0"/>
            <a:t>Faster execution</a:t>
          </a:r>
        </a:p>
      </dgm:t>
    </dgm:pt>
    <dgm:pt modelId="{6FC8B47C-F142-44AB-BF58-073CA416A1B7}" type="parTrans" cxnId="{E8E98CBD-A99C-4DDF-A00E-69800AA4DC46}">
      <dgm:prSet/>
      <dgm:spPr/>
      <dgm:t>
        <a:bodyPr/>
        <a:lstStyle/>
        <a:p>
          <a:endParaRPr lang="en-US"/>
        </a:p>
      </dgm:t>
    </dgm:pt>
    <dgm:pt modelId="{B5FFFE9E-EC37-461B-823D-93724338D1EE}" type="sibTrans" cxnId="{E8E98CBD-A99C-4DDF-A00E-69800AA4DC46}">
      <dgm:prSet/>
      <dgm:spPr/>
      <dgm:t>
        <a:bodyPr/>
        <a:lstStyle/>
        <a:p>
          <a:endParaRPr lang="en-US"/>
        </a:p>
      </dgm:t>
    </dgm:pt>
    <dgm:pt modelId="{8F55BAC0-D65A-4106-B689-F610918C0B34}">
      <dgm:prSet phldrT="[Text]"/>
      <dgm:spPr/>
      <dgm:t>
        <a:bodyPr/>
        <a:lstStyle/>
        <a:p>
          <a:r>
            <a:rPr lang="en-US" dirty="0"/>
            <a:t>Flexible report feature</a:t>
          </a:r>
        </a:p>
      </dgm:t>
    </dgm:pt>
    <dgm:pt modelId="{1AB6488E-F4DB-404D-87F3-D0986D162EE0}" type="parTrans" cxnId="{5E265E9B-3F60-46A1-A04F-E4480A207E1D}">
      <dgm:prSet/>
      <dgm:spPr/>
      <dgm:t>
        <a:bodyPr/>
        <a:lstStyle/>
        <a:p>
          <a:endParaRPr lang="en-US"/>
        </a:p>
      </dgm:t>
    </dgm:pt>
    <dgm:pt modelId="{5A164C32-1EDE-4718-853F-55481D9AC877}" type="sibTrans" cxnId="{5E265E9B-3F60-46A1-A04F-E4480A207E1D}">
      <dgm:prSet/>
      <dgm:spPr/>
      <dgm:t>
        <a:bodyPr/>
        <a:lstStyle/>
        <a:p>
          <a:endParaRPr lang="en-US"/>
        </a:p>
      </dgm:t>
    </dgm:pt>
    <dgm:pt modelId="{BC2FDFE9-F00B-43F7-86C0-27A2D3DE639F}">
      <dgm:prSet phldrT="[Text]"/>
      <dgm:spPr/>
      <dgm:t>
        <a:bodyPr/>
        <a:lstStyle/>
        <a:p>
          <a:r>
            <a:rPr lang="en-US" dirty="0"/>
            <a:t>Do test automation at faster pace</a:t>
          </a:r>
        </a:p>
      </dgm:t>
    </dgm:pt>
    <dgm:pt modelId="{B1249128-3386-482A-BFFF-A6019D0563C6}" type="parTrans" cxnId="{3E7BC9FE-5195-489E-B5E9-7E809559903A}">
      <dgm:prSet/>
      <dgm:spPr/>
      <dgm:t>
        <a:bodyPr/>
        <a:lstStyle/>
        <a:p>
          <a:endParaRPr lang="en-US"/>
        </a:p>
      </dgm:t>
    </dgm:pt>
    <dgm:pt modelId="{BC3010CA-E301-4CA4-BD1C-0F82F55494F0}" type="sibTrans" cxnId="{3E7BC9FE-5195-489E-B5E9-7E809559903A}">
      <dgm:prSet/>
      <dgm:spPr/>
      <dgm:t>
        <a:bodyPr/>
        <a:lstStyle/>
        <a:p>
          <a:endParaRPr lang="en-US"/>
        </a:p>
      </dgm:t>
    </dgm:pt>
    <dgm:pt modelId="{93231798-2ABD-4667-8021-11ED2CFF27D6}">
      <dgm:prSet phldrT="[Text]"/>
      <dgm:spPr/>
      <dgm:t>
        <a:bodyPr/>
        <a:lstStyle/>
        <a:p>
          <a:r>
            <a:rPr lang="en-US" dirty="0"/>
            <a:t>Automatically captured the object locators</a:t>
          </a:r>
        </a:p>
      </dgm:t>
    </dgm:pt>
    <dgm:pt modelId="{BA54DAD6-5147-4396-9D33-E75AEE3D2BCD}" type="parTrans" cxnId="{EC67A6CA-9F3F-4F81-97F5-AF0C01DB492E}">
      <dgm:prSet/>
      <dgm:spPr/>
      <dgm:t>
        <a:bodyPr/>
        <a:lstStyle/>
        <a:p>
          <a:endParaRPr lang="en-US"/>
        </a:p>
      </dgm:t>
    </dgm:pt>
    <dgm:pt modelId="{58B257C7-22BA-41CF-9953-B20405839560}" type="sibTrans" cxnId="{EC67A6CA-9F3F-4F81-97F5-AF0C01DB492E}">
      <dgm:prSet/>
      <dgm:spPr/>
      <dgm:t>
        <a:bodyPr/>
        <a:lstStyle/>
        <a:p>
          <a:endParaRPr lang="en-US"/>
        </a:p>
      </dgm:t>
    </dgm:pt>
    <dgm:pt modelId="{67ACA868-3439-4165-A484-D81B0A0D154D}">
      <dgm:prSet phldrT="[Text]"/>
      <dgm:spPr/>
      <dgm:t>
        <a:bodyPr/>
        <a:lstStyle/>
        <a:p>
          <a:r>
            <a:rPr lang="en-US" dirty="0"/>
            <a:t>Static forms testing is easy</a:t>
          </a:r>
        </a:p>
      </dgm:t>
    </dgm:pt>
    <dgm:pt modelId="{D4FC6073-A770-4B78-A2FE-D33E75F74D78}" type="parTrans" cxnId="{0A76C15B-4DD3-4B10-860A-106DB2628731}">
      <dgm:prSet/>
      <dgm:spPr/>
      <dgm:t>
        <a:bodyPr/>
        <a:lstStyle/>
        <a:p>
          <a:endParaRPr lang="en-US"/>
        </a:p>
      </dgm:t>
    </dgm:pt>
    <dgm:pt modelId="{AF2AF153-52C5-47E5-B218-152CD466F9EA}" type="sibTrans" cxnId="{0A76C15B-4DD3-4B10-860A-106DB2628731}">
      <dgm:prSet/>
      <dgm:spPr/>
      <dgm:t>
        <a:bodyPr/>
        <a:lstStyle/>
        <a:p>
          <a:endParaRPr lang="en-US"/>
        </a:p>
      </dgm:t>
    </dgm:pt>
    <dgm:pt modelId="{206D9E41-87D6-4686-BCE3-23883CBBAE4A}" type="pres">
      <dgm:prSet presAssocID="{385EC85E-9467-4950-BADD-830533862975}" presName="Name0" presStyleCnt="0">
        <dgm:presLayoutVars>
          <dgm:dir/>
          <dgm:animLvl val="lvl"/>
          <dgm:resizeHandles val="exact"/>
        </dgm:presLayoutVars>
      </dgm:prSet>
      <dgm:spPr/>
    </dgm:pt>
    <dgm:pt modelId="{E885D208-D82D-4BD9-A3A1-6BFE2553C087}" type="pres">
      <dgm:prSet presAssocID="{E70E9467-94F1-4A73-9389-2BD41B027D6A}" presName="composite" presStyleCnt="0"/>
      <dgm:spPr/>
    </dgm:pt>
    <dgm:pt modelId="{BF82C4C0-3837-483F-91EF-4EB39D835990}" type="pres">
      <dgm:prSet presAssocID="{E70E9467-94F1-4A73-9389-2BD41B027D6A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AF375C4E-087F-4C42-BFBB-4B985FC19630}" type="pres">
      <dgm:prSet presAssocID="{E70E9467-94F1-4A73-9389-2BD41B027D6A}" presName="desTx" presStyleLbl="alignAccFollowNode1" presStyleIdx="0" presStyleCnt="4">
        <dgm:presLayoutVars>
          <dgm:bulletEnabled val="1"/>
        </dgm:presLayoutVars>
      </dgm:prSet>
      <dgm:spPr/>
    </dgm:pt>
    <dgm:pt modelId="{2138B4D8-1A3A-4C87-B109-35B0C977754E}" type="pres">
      <dgm:prSet presAssocID="{43016795-5FE7-4887-8C26-97BD44168DE5}" presName="space" presStyleCnt="0"/>
      <dgm:spPr/>
    </dgm:pt>
    <dgm:pt modelId="{FBD78F79-7CA1-4B55-BFB9-35521098309E}" type="pres">
      <dgm:prSet presAssocID="{42CF211C-C4D3-4BAA-9198-291FBAAE01F5}" presName="composite" presStyleCnt="0"/>
      <dgm:spPr/>
    </dgm:pt>
    <dgm:pt modelId="{36F78603-3D36-4F45-9186-9F8ABAED8920}" type="pres">
      <dgm:prSet presAssocID="{42CF211C-C4D3-4BAA-9198-291FBAAE01F5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E298ED86-65A2-4F25-B00E-5A43FD0EA44D}" type="pres">
      <dgm:prSet presAssocID="{42CF211C-C4D3-4BAA-9198-291FBAAE01F5}" presName="desTx" presStyleLbl="alignAccFollowNode1" presStyleIdx="1" presStyleCnt="4" custLinFactNeighborY="-1600">
        <dgm:presLayoutVars>
          <dgm:bulletEnabled val="1"/>
        </dgm:presLayoutVars>
      </dgm:prSet>
      <dgm:spPr/>
    </dgm:pt>
    <dgm:pt modelId="{7B890780-72E2-4D39-87CB-C57DDD938A2B}" type="pres">
      <dgm:prSet presAssocID="{935FB07B-C4F3-4FF3-A249-36CA53BE5A84}" presName="space" presStyleCnt="0"/>
      <dgm:spPr/>
    </dgm:pt>
    <dgm:pt modelId="{FEFDEF03-16E3-412C-9F1B-575B086B5B29}" type="pres">
      <dgm:prSet presAssocID="{F21FA1D6-5FA6-471B-985A-DE5DDB645918}" presName="composite" presStyleCnt="0"/>
      <dgm:spPr/>
    </dgm:pt>
    <dgm:pt modelId="{C3D05E81-BA92-43EA-9280-E606350D2775}" type="pres">
      <dgm:prSet presAssocID="{F21FA1D6-5FA6-471B-985A-DE5DDB645918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C924EE63-177B-4ADE-9747-82A8E2A7E194}" type="pres">
      <dgm:prSet presAssocID="{F21FA1D6-5FA6-471B-985A-DE5DDB645918}" presName="desTx" presStyleLbl="alignAccFollowNode1" presStyleIdx="2" presStyleCnt="4">
        <dgm:presLayoutVars>
          <dgm:bulletEnabled val="1"/>
        </dgm:presLayoutVars>
      </dgm:prSet>
      <dgm:spPr/>
    </dgm:pt>
    <dgm:pt modelId="{0C063FAF-9A6F-41C0-9373-B2BDC828763F}" type="pres">
      <dgm:prSet presAssocID="{07EBCB5E-553C-4C09-ADE8-8B1275BAC5DB}" presName="space" presStyleCnt="0"/>
      <dgm:spPr/>
    </dgm:pt>
    <dgm:pt modelId="{F32914EE-D123-4AA9-BEB5-9286543B5645}" type="pres">
      <dgm:prSet presAssocID="{4FECA7C3-008F-4B93-9A2D-9D3D1FB570C4}" presName="composite" presStyleCnt="0"/>
      <dgm:spPr/>
    </dgm:pt>
    <dgm:pt modelId="{7C8F564B-A690-40F9-A496-17B5AA335855}" type="pres">
      <dgm:prSet presAssocID="{4FECA7C3-008F-4B93-9A2D-9D3D1FB570C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201D7ECF-A088-42EF-B6FC-40A1E12E0183}" type="pres">
      <dgm:prSet presAssocID="{4FECA7C3-008F-4B93-9A2D-9D3D1FB570C4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26855201-AB1C-4775-9BDB-683FF53D31E3}" type="presOf" srcId="{A184C0B2-8285-4B7E-985C-D859FF048C64}" destId="{AF375C4E-087F-4C42-BFBB-4B985FC19630}" srcOrd="0" destOrd="1" presId="urn:microsoft.com/office/officeart/2005/8/layout/hList1"/>
    <dgm:cxn modelId="{F5713803-3263-49E4-BB63-FA718DA3A589}" type="presOf" srcId="{B2DA9857-3A26-46FB-BA10-740D9C81C484}" destId="{E298ED86-65A2-4F25-B00E-5A43FD0EA44D}" srcOrd="0" destOrd="1" presId="urn:microsoft.com/office/officeart/2005/8/layout/hList1"/>
    <dgm:cxn modelId="{E3664808-8AFE-4C21-B0C7-13FE85121227}" type="presOf" srcId="{FBEAC2EF-85DF-4F37-9427-CA39467008B3}" destId="{AF375C4E-087F-4C42-BFBB-4B985FC19630}" srcOrd="0" destOrd="5" presId="urn:microsoft.com/office/officeart/2005/8/layout/hList1"/>
    <dgm:cxn modelId="{A515F81B-DFA1-4197-98A0-319F82B9842E}" srcId="{E70E9467-94F1-4A73-9389-2BD41B027D6A}" destId="{48EA9AA4-BE56-4CF4-9AF5-929C8F9322A9}" srcOrd="3" destOrd="0" parTransId="{C78E186F-C406-4E81-B35E-331FBE199A73}" sibTransId="{23386099-1972-4E0A-A01B-8BCFC7431CE1}"/>
    <dgm:cxn modelId="{5A56AB1C-3CAC-4BD7-AC84-49C96E6F73CA}" srcId="{E70E9467-94F1-4A73-9389-2BD41B027D6A}" destId="{FBEAC2EF-85DF-4F37-9427-CA39467008B3}" srcOrd="5" destOrd="0" parTransId="{DA4EE488-E46B-4F38-9B1B-AD9A2B4F0829}" sibTransId="{B6896C48-598A-43B0-8A3E-50BA11C75A46}"/>
    <dgm:cxn modelId="{6BD7AC1D-F2A6-4127-B161-59FF1847C13B}" srcId="{4FECA7C3-008F-4B93-9A2D-9D3D1FB570C4}" destId="{ABB352E5-E415-492F-8190-4815EF4D39B2}" srcOrd="0" destOrd="0" parTransId="{C2A07BE5-59B8-4F7E-8F0D-CF1DD865D31F}" sibTransId="{F1211209-52B4-4E86-AD2D-82067D575E6D}"/>
    <dgm:cxn modelId="{8CD7631F-1CC5-42EB-8DE0-4B8B4067BA55}" srcId="{E70E9467-94F1-4A73-9389-2BD41B027D6A}" destId="{55B15AE2-53D4-4624-AAEF-4EA9E6D8323E}" srcOrd="8" destOrd="0" parTransId="{D91A5862-0582-4243-B7D3-FB3EB00E0371}" sibTransId="{884BAE47-6017-467F-83BC-59BCAC758A3A}"/>
    <dgm:cxn modelId="{AD09E71F-810E-420A-B370-B25C15759D80}" type="presOf" srcId="{67ACA868-3439-4165-A484-D81B0A0D154D}" destId="{AF375C4E-087F-4C42-BFBB-4B985FC19630}" srcOrd="0" destOrd="10" presId="urn:microsoft.com/office/officeart/2005/8/layout/hList1"/>
    <dgm:cxn modelId="{F6129520-7571-4EB4-AF20-BC4DB056AF51}" type="presOf" srcId="{55B15AE2-53D4-4624-AAEF-4EA9E6D8323E}" destId="{AF375C4E-087F-4C42-BFBB-4B985FC19630}" srcOrd="0" destOrd="8" presId="urn:microsoft.com/office/officeart/2005/8/layout/hList1"/>
    <dgm:cxn modelId="{DBC01A23-5393-462F-8AE9-009A0812D28A}" srcId="{E70E9467-94F1-4A73-9389-2BD41B027D6A}" destId="{FF4F50C4-19FC-45A1-B435-48E6F62E2461}" srcOrd="4" destOrd="0" parTransId="{3533672B-ECA7-4C41-A275-586434C0F4F9}" sibTransId="{AD15B933-1289-4D7E-AA1E-7C617B4823AD}"/>
    <dgm:cxn modelId="{3F715E23-DB9D-4547-8F99-044EA9CC7EBF}" type="presOf" srcId="{818BDD79-3DA0-42BE-A6CB-7242CD960DEC}" destId="{AF375C4E-087F-4C42-BFBB-4B985FC19630}" srcOrd="0" destOrd="6" presId="urn:microsoft.com/office/officeart/2005/8/layout/hList1"/>
    <dgm:cxn modelId="{07F43930-D87E-45E2-B949-59CF7FA3F994}" srcId="{385EC85E-9467-4950-BADD-830533862975}" destId="{E70E9467-94F1-4A73-9389-2BD41B027D6A}" srcOrd="0" destOrd="0" parTransId="{308B2EE8-7DC1-4883-853D-610FD691B85E}" sibTransId="{43016795-5FE7-4887-8C26-97BD44168DE5}"/>
    <dgm:cxn modelId="{21D65E37-1087-4FEC-A1D5-41BA69BA0BFF}" srcId="{E70E9467-94F1-4A73-9389-2BD41B027D6A}" destId="{CE1B9E9B-54DF-405D-ABEF-68BBAE665DC9}" srcOrd="11" destOrd="0" parTransId="{79464CDD-EF6C-46FA-9320-08AF3E43D53F}" sibTransId="{3DA248B9-C9BA-4D48-9A8F-A738C600454C}"/>
    <dgm:cxn modelId="{F60CFD3A-D66D-483B-AE44-C1917807B07B}" type="presOf" srcId="{BF391E15-2904-439F-AADD-7FA2F259BAA0}" destId="{C924EE63-177B-4ADE-9747-82A8E2A7E194}" srcOrd="0" destOrd="2" presId="urn:microsoft.com/office/officeart/2005/8/layout/hList1"/>
    <dgm:cxn modelId="{A1BB633E-679C-4881-8B6B-522E7BA3F8DE}" type="presOf" srcId="{CE1B9E9B-54DF-405D-ABEF-68BBAE665DC9}" destId="{AF375C4E-087F-4C42-BFBB-4B985FC19630}" srcOrd="0" destOrd="11" presId="urn:microsoft.com/office/officeart/2005/8/layout/hList1"/>
    <dgm:cxn modelId="{0A76C15B-4DD3-4B10-860A-106DB2628731}" srcId="{E70E9467-94F1-4A73-9389-2BD41B027D6A}" destId="{67ACA868-3439-4165-A484-D81B0A0D154D}" srcOrd="10" destOrd="0" parTransId="{D4FC6073-A770-4B78-A2FE-D33E75F74D78}" sibTransId="{AF2AF153-52C5-47E5-B218-152CD466F9EA}"/>
    <dgm:cxn modelId="{7E2F3441-4B44-4520-9CA9-22A593918F42}" type="presOf" srcId="{58AB0136-ADB7-41B2-9626-ED3443C244FB}" destId="{AF375C4E-087F-4C42-BFBB-4B985FC19630}" srcOrd="0" destOrd="0" presId="urn:microsoft.com/office/officeart/2005/8/layout/hList1"/>
    <dgm:cxn modelId="{6AEA3B42-D423-4999-8983-E36667EB7586}" type="presOf" srcId="{93231798-2ABD-4667-8021-11ED2CFF27D6}" destId="{AF375C4E-087F-4C42-BFBB-4B985FC19630}" srcOrd="0" destOrd="9" presId="urn:microsoft.com/office/officeart/2005/8/layout/hList1"/>
    <dgm:cxn modelId="{15BC8342-9E88-4426-B03E-0B7EB77143BA}" type="presOf" srcId="{F21FA1D6-5FA6-471B-985A-DE5DDB645918}" destId="{C3D05E81-BA92-43EA-9280-E606350D2775}" srcOrd="0" destOrd="0" presId="urn:microsoft.com/office/officeart/2005/8/layout/hList1"/>
    <dgm:cxn modelId="{91AFBF45-921E-4ED4-9F01-F57F2FB9B773}" type="presOf" srcId="{694B97B5-8993-4E09-AF27-3111E8FF57A6}" destId="{C924EE63-177B-4ADE-9747-82A8E2A7E194}" srcOrd="0" destOrd="4" presId="urn:microsoft.com/office/officeart/2005/8/layout/hList1"/>
    <dgm:cxn modelId="{28416547-D8BE-494D-8C62-48844A0F672A}" type="presOf" srcId="{4FECA7C3-008F-4B93-9A2D-9D3D1FB570C4}" destId="{7C8F564B-A690-40F9-A496-17B5AA335855}" srcOrd="0" destOrd="0" presId="urn:microsoft.com/office/officeart/2005/8/layout/hList1"/>
    <dgm:cxn modelId="{E317374D-113B-4EAF-840B-B357D200DE14}" srcId="{F21FA1D6-5FA6-471B-985A-DE5DDB645918}" destId="{22CFDE32-CF31-4031-B035-36C67C8D1CAD}" srcOrd="1" destOrd="0" parTransId="{6EC5A84F-53D6-4839-8AA0-11887046745A}" sibTransId="{19792830-421E-468F-889F-606DDCC3B363}"/>
    <dgm:cxn modelId="{06BB856D-DF46-4DD2-8BAD-883BA6D4CE9A}" type="presOf" srcId="{22CFDE32-CF31-4031-B035-36C67C8D1CAD}" destId="{C924EE63-177B-4ADE-9747-82A8E2A7E194}" srcOrd="0" destOrd="1" presId="urn:microsoft.com/office/officeart/2005/8/layout/hList1"/>
    <dgm:cxn modelId="{4C296654-A984-493F-9CCD-69CD58F2997A}" srcId="{42CF211C-C4D3-4BAA-9198-291FBAAE01F5}" destId="{B2DA9857-3A26-46FB-BA10-740D9C81C484}" srcOrd="1" destOrd="0" parTransId="{49574EEF-AB49-4318-8B03-22C9F22006ED}" sibTransId="{0ECCB59F-FE2A-47DD-AC4E-A5B2B13D7439}"/>
    <dgm:cxn modelId="{6A5F1A77-4B2A-450D-BF64-7B80A6260351}" type="presOf" srcId="{BB709FEC-8290-492D-8EBD-C598AF951D56}" destId="{C924EE63-177B-4ADE-9747-82A8E2A7E194}" srcOrd="0" destOrd="0" presId="urn:microsoft.com/office/officeart/2005/8/layout/hList1"/>
    <dgm:cxn modelId="{5A920A78-919B-4624-AA4A-A00C7D7E323A}" type="presOf" srcId="{EEBD9BBC-55B8-4FD3-8299-66C00177B6BA}" destId="{201D7ECF-A088-42EF-B6FC-40A1E12E0183}" srcOrd="0" destOrd="1" presId="urn:microsoft.com/office/officeart/2005/8/layout/hList1"/>
    <dgm:cxn modelId="{D840CD58-12B2-41B1-90AB-204FB075E0E0}" type="presOf" srcId="{ABB352E5-E415-492F-8190-4815EF4D39B2}" destId="{201D7ECF-A088-42EF-B6FC-40A1E12E0183}" srcOrd="0" destOrd="0" presId="urn:microsoft.com/office/officeart/2005/8/layout/hList1"/>
    <dgm:cxn modelId="{DCAE3259-4653-42F0-8CBC-EF0D37C002B5}" srcId="{385EC85E-9467-4950-BADD-830533862975}" destId="{F21FA1D6-5FA6-471B-985A-DE5DDB645918}" srcOrd="2" destOrd="0" parTransId="{B118A24E-D660-44E6-B3B1-71BD1601C806}" sibTransId="{07EBCB5E-553C-4C09-ADE8-8B1275BAC5DB}"/>
    <dgm:cxn modelId="{72EDCE79-A32D-49DD-9AA1-AC6DCC92CA0A}" srcId="{E70E9467-94F1-4A73-9389-2BD41B027D6A}" destId="{E71543C0-70D3-46B5-9703-FB2F9590D740}" srcOrd="2" destOrd="0" parTransId="{38C0FCBA-75F5-400B-A693-61229277EAD1}" sibTransId="{B9177ABE-E69C-43E7-BB33-C59EE9178E78}"/>
    <dgm:cxn modelId="{3DF2C681-831F-437E-AF87-5724A698B4D5}" srcId="{4FECA7C3-008F-4B93-9A2D-9D3D1FB570C4}" destId="{EEBD9BBC-55B8-4FD3-8299-66C00177B6BA}" srcOrd="1" destOrd="0" parTransId="{0FA1CD69-37C9-4379-8CAE-BB0436D00944}" sibTransId="{F5B92CD2-D5CB-484E-BF43-D212F5690476}"/>
    <dgm:cxn modelId="{9F888183-23AF-4B21-A346-A1AD111B9461}" type="presOf" srcId="{E71543C0-70D3-46B5-9703-FB2F9590D740}" destId="{AF375C4E-087F-4C42-BFBB-4B985FC19630}" srcOrd="0" destOrd="2" presId="urn:microsoft.com/office/officeart/2005/8/layout/hList1"/>
    <dgm:cxn modelId="{A290F785-CEF9-4725-B88B-6813599B99D4}" srcId="{42CF211C-C4D3-4BAA-9198-291FBAAE01F5}" destId="{9040D1C8-F01A-4373-88D4-616C582C0D3F}" srcOrd="0" destOrd="0" parTransId="{AC72B872-012F-405B-9662-262B317E410A}" sibTransId="{0D9282E1-EDDF-4165-BD39-4709212C8648}"/>
    <dgm:cxn modelId="{B36A2C88-6846-4EB9-946F-97F25CE99FFB}" srcId="{F21FA1D6-5FA6-471B-985A-DE5DDB645918}" destId="{BB709FEC-8290-492D-8EBD-C598AF951D56}" srcOrd="0" destOrd="0" parTransId="{9A02229E-56DE-44A8-BC1F-52BCF439DEE0}" sibTransId="{E94E202B-6ED8-4AA8-8232-2776BBD73F91}"/>
    <dgm:cxn modelId="{B7C9088F-B36B-414D-BFD6-47B6919F3B6B}" srcId="{E70E9467-94F1-4A73-9389-2BD41B027D6A}" destId="{71F1F3AA-4072-44E3-A116-E71E088AA39D}" srcOrd="7" destOrd="0" parTransId="{9A7B9960-FF3A-4DCE-ADC9-E4B780718726}" sibTransId="{2FE7AA31-897B-434A-82F4-40F0FF46EEBC}"/>
    <dgm:cxn modelId="{5E265E9B-3F60-46A1-A04F-E4480A207E1D}" srcId="{F21FA1D6-5FA6-471B-985A-DE5DDB645918}" destId="{8F55BAC0-D65A-4106-B689-F610918C0B34}" srcOrd="3" destOrd="0" parTransId="{1AB6488E-F4DB-404D-87F3-D0986D162EE0}" sibTransId="{5A164C32-1EDE-4718-853F-55481D9AC877}"/>
    <dgm:cxn modelId="{7A955D9D-46FD-4FCD-91F2-38368F2E9ECB}" srcId="{42CF211C-C4D3-4BAA-9198-291FBAAE01F5}" destId="{9B096BA5-E1EC-42F4-B088-FD1C5DC21643}" srcOrd="2" destOrd="0" parTransId="{D1F36733-109B-45E4-B244-037ADD14073C}" sibTransId="{DCCA6E9D-41D9-40A8-843F-14592BB7F512}"/>
    <dgm:cxn modelId="{E8E98CBD-A99C-4DDF-A00E-69800AA4DC46}" srcId="{F21FA1D6-5FA6-471B-985A-DE5DDB645918}" destId="{BF391E15-2904-439F-AADD-7FA2F259BAA0}" srcOrd="2" destOrd="0" parTransId="{6FC8B47C-F142-44AB-BF58-073CA416A1B7}" sibTransId="{B5FFFE9E-EC37-461B-823D-93724338D1EE}"/>
    <dgm:cxn modelId="{9C45A7C3-26A5-4E17-8D06-A58A9874B2B2}" type="presOf" srcId="{48EA9AA4-BE56-4CF4-9AF5-929C8F9322A9}" destId="{AF375C4E-087F-4C42-BFBB-4B985FC19630}" srcOrd="0" destOrd="3" presId="urn:microsoft.com/office/officeart/2005/8/layout/hList1"/>
    <dgm:cxn modelId="{EC67A6CA-9F3F-4F81-97F5-AF0C01DB492E}" srcId="{E70E9467-94F1-4A73-9389-2BD41B027D6A}" destId="{93231798-2ABD-4667-8021-11ED2CFF27D6}" srcOrd="9" destOrd="0" parTransId="{BA54DAD6-5147-4396-9D33-E75AEE3D2BCD}" sibTransId="{58B257C7-22BA-41CF-9953-B20405839560}"/>
    <dgm:cxn modelId="{7A8AAACA-DE75-48CF-A27A-40EB5409FB59}" srcId="{385EC85E-9467-4950-BADD-830533862975}" destId="{4FECA7C3-008F-4B93-9A2D-9D3D1FB570C4}" srcOrd="3" destOrd="0" parTransId="{0FCB2592-4490-48A9-A0BB-A369A4B0EADD}" sibTransId="{96015FB6-3B9B-41C4-8D7F-645F06968D18}"/>
    <dgm:cxn modelId="{075471CB-AF60-44F9-94EC-0B871FB6C18F}" srcId="{F21FA1D6-5FA6-471B-985A-DE5DDB645918}" destId="{694B97B5-8993-4E09-AF27-3111E8FF57A6}" srcOrd="4" destOrd="0" parTransId="{2C861104-8AB5-4B48-8EDA-7459A41456E0}" sibTransId="{1BD2B6C4-A8F7-4B51-876F-167BD068E348}"/>
    <dgm:cxn modelId="{1DDC29CC-3E8B-4E38-B386-3C0A112EFED1}" srcId="{E70E9467-94F1-4A73-9389-2BD41B027D6A}" destId="{818BDD79-3DA0-42BE-A6CB-7242CD960DEC}" srcOrd="6" destOrd="0" parTransId="{5634EBE4-F7D3-4889-8BAC-5220F9F98DF6}" sibTransId="{6DA8F99A-0C1A-4750-BE77-5F55411C24AB}"/>
    <dgm:cxn modelId="{F38997CD-1C21-4DA1-A00B-8BA261147B95}" type="presOf" srcId="{42CF211C-C4D3-4BAA-9198-291FBAAE01F5}" destId="{36F78603-3D36-4F45-9186-9F8ABAED8920}" srcOrd="0" destOrd="0" presId="urn:microsoft.com/office/officeart/2005/8/layout/hList1"/>
    <dgm:cxn modelId="{5CAF25CE-2A1A-4140-8A76-2A4E3C365A89}" srcId="{E70E9467-94F1-4A73-9389-2BD41B027D6A}" destId="{A184C0B2-8285-4B7E-985C-D859FF048C64}" srcOrd="1" destOrd="0" parTransId="{C2D8D3AB-1DEC-4084-8C74-D5816B32CCBA}" sibTransId="{6BA68892-A9AB-49FE-B222-E61641EC1877}"/>
    <dgm:cxn modelId="{8D26BBD1-0EEE-40CF-B831-95E767283117}" type="presOf" srcId="{8F55BAC0-D65A-4106-B689-F610918C0B34}" destId="{C924EE63-177B-4ADE-9747-82A8E2A7E194}" srcOrd="0" destOrd="3" presId="urn:microsoft.com/office/officeart/2005/8/layout/hList1"/>
    <dgm:cxn modelId="{C3C2F3D6-045C-4A12-B09B-C32BDB988463}" type="presOf" srcId="{FF4F50C4-19FC-45A1-B435-48E6F62E2461}" destId="{AF375C4E-087F-4C42-BFBB-4B985FC19630}" srcOrd="0" destOrd="4" presId="urn:microsoft.com/office/officeart/2005/8/layout/hList1"/>
    <dgm:cxn modelId="{34C0C3D8-9EF1-4707-B929-9E5B2FA67260}" type="presOf" srcId="{E70E9467-94F1-4A73-9389-2BD41B027D6A}" destId="{BF82C4C0-3837-483F-91EF-4EB39D835990}" srcOrd="0" destOrd="0" presId="urn:microsoft.com/office/officeart/2005/8/layout/hList1"/>
    <dgm:cxn modelId="{29CC83DC-6874-4C58-BC2B-A402EB668466}" type="presOf" srcId="{9B096BA5-E1EC-42F4-B088-FD1C5DC21643}" destId="{E298ED86-65A2-4F25-B00E-5A43FD0EA44D}" srcOrd="0" destOrd="2" presId="urn:microsoft.com/office/officeart/2005/8/layout/hList1"/>
    <dgm:cxn modelId="{152EA7DD-1C8B-45ED-AC27-C82F42CFB0D2}" type="presOf" srcId="{BC2FDFE9-F00B-43F7-86C0-27A2D3DE639F}" destId="{201D7ECF-A088-42EF-B6FC-40A1E12E0183}" srcOrd="0" destOrd="2" presId="urn:microsoft.com/office/officeart/2005/8/layout/hList1"/>
    <dgm:cxn modelId="{F42797E0-C873-422B-8F92-64C4CEAA06E2}" type="presOf" srcId="{9040D1C8-F01A-4373-88D4-616C582C0D3F}" destId="{E298ED86-65A2-4F25-B00E-5A43FD0EA44D}" srcOrd="0" destOrd="0" presId="urn:microsoft.com/office/officeart/2005/8/layout/hList1"/>
    <dgm:cxn modelId="{8D9D2FFC-3BD2-4FCA-BDC6-63D8A15556A3}" srcId="{E70E9467-94F1-4A73-9389-2BD41B027D6A}" destId="{58AB0136-ADB7-41B2-9626-ED3443C244FB}" srcOrd="0" destOrd="0" parTransId="{B6C4B63B-FC58-430D-AD88-BA83223F44C1}" sibTransId="{DF965834-0DF6-4977-8BE6-DD00EC3B53D0}"/>
    <dgm:cxn modelId="{68EB91FD-C3B1-4937-A1AF-0EC72AB0CE3C}" type="presOf" srcId="{71F1F3AA-4072-44E3-A116-E71E088AA39D}" destId="{AF375C4E-087F-4C42-BFBB-4B985FC19630}" srcOrd="0" destOrd="7" presId="urn:microsoft.com/office/officeart/2005/8/layout/hList1"/>
    <dgm:cxn modelId="{EC1DCAFD-1FBA-4419-8AC8-C3CE117194E4}" srcId="{385EC85E-9467-4950-BADD-830533862975}" destId="{42CF211C-C4D3-4BAA-9198-291FBAAE01F5}" srcOrd="1" destOrd="0" parTransId="{C427FF45-DB50-4B15-B7A6-81DAF612F8D0}" sibTransId="{935FB07B-C4F3-4FF3-A249-36CA53BE5A84}"/>
    <dgm:cxn modelId="{3E7BC9FE-5195-489E-B5E9-7E809559903A}" srcId="{4FECA7C3-008F-4B93-9A2D-9D3D1FB570C4}" destId="{BC2FDFE9-F00B-43F7-86C0-27A2D3DE639F}" srcOrd="2" destOrd="0" parTransId="{B1249128-3386-482A-BFFF-A6019D0563C6}" sibTransId="{BC3010CA-E301-4CA4-BD1C-0F82F55494F0}"/>
    <dgm:cxn modelId="{6C2AECFF-B15F-4C3A-A5C1-7BB0C0989122}" type="presOf" srcId="{385EC85E-9467-4950-BADD-830533862975}" destId="{206D9E41-87D6-4686-BCE3-23883CBBAE4A}" srcOrd="0" destOrd="0" presId="urn:microsoft.com/office/officeart/2005/8/layout/hList1"/>
    <dgm:cxn modelId="{775246F1-6412-4FF1-B527-29B92EBAF256}" type="presParOf" srcId="{206D9E41-87D6-4686-BCE3-23883CBBAE4A}" destId="{E885D208-D82D-4BD9-A3A1-6BFE2553C087}" srcOrd="0" destOrd="0" presId="urn:microsoft.com/office/officeart/2005/8/layout/hList1"/>
    <dgm:cxn modelId="{A9D1F518-058E-40E9-870A-07933C0A6189}" type="presParOf" srcId="{E885D208-D82D-4BD9-A3A1-6BFE2553C087}" destId="{BF82C4C0-3837-483F-91EF-4EB39D835990}" srcOrd="0" destOrd="0" presId="urn:microsoft.com/office/officeart/2005/8/layout/hList1"/>
    <dgm:cxn modelId="{E3F35A53-A9EA-4609-9E60-E5F6123A4C43}" type="presParOf" srcId="{E885D208-D82D-4BD9-A3A1-6BFE2553C087}" destId="{AF375C4E-087F-4C42-BFBB-4B985FC19630}" srcOrd="1" destOrd="0" presId="urn:microsoft.com/office/officeart/2005/8/layout/hList1"/>
    <dgm:cxn modelId="{2D972EA8-6B4B-41E2-98B9-53BC7079B84E}" type="presParOf" srcId="{206D9E41-87D6-4686-BCE3-23883CBBAE4A}" destId="{2138B4D8-1A3A-4C87-B109-35B0C977754E}" srcOrd="1" destOrd="0" presId="urn:microsoft.com/office/officeart/2005/8/layout/hList1"/>
    <dgm:cxn modelId="{6329E2BE-C261-4740-9694-EE51AF284ECF}" type="presParOf" srcId="{206D9E41-87D6-4686-BCE3-23883CBBAE4A}" destId="{FBD78F79-7CA1-4B55-BFB9-35521098309E}" srcOrd="2" destOrd="0" presId="urn:microsoft.com/office/officeart/2005/8/layout/hList1"/>
    <dgm:cxn modelId="{A76D1052-B399-4129-AB76-69318EC256AE}" type="presParOf" srcId="{FBD78F79-7CA1-4B55-BFB9-35521098309E}" destId="{36F78603-3D36-4F45-9186-9F8ABAED8920}" srcOrd="0" destOrd="0" presId="urn:microsoft.com/office/officeart/2005/8/layout/hList1"/>
    <dgm:cxn modelId="{3B8A6BC0-324F-40A8-828C-BD4F48D8BC84}" type="presParOf" srcId="{FBD78F79-7CA1-4B55-BFB9-35521098309E}" destId="{E298ED86-65A2-4F25-B00E-5A43FD0EA44D}" srcOrd="1" destOrd="0" presId="urn:microsoft.com/office/officeart/2005/8/layout/hList1"/>
    <dgm:cxn modelId="{E056FE3A-275F-409C-A459-4D9F06205070}" type="presParOf" srcId="{206D9E41-87D6-4686-BCE3-23883CBBAE4A}" destId="{7B890780-72E2-4D39-87CB-C57DDD938A2B}" srcOrd="3" destOrd="0" presId="urn:microsoft.com/office/officeart/2005/8/layout/hList1"/>
    <dgm:cxn modelId="{E1C22F87-2D6F-4F2A-AB1A-D17A22010E96}" type="presParOf" srcId="{206D9E41-87D6-4686-BCE3-23883CBBAE4A}" destId="{FEFDEF03-16E3-412C-9F1B-575B086B5B29}" srcOrd="4" destOrd="0" presId="urn:microsoft.com/office/officeart/2005/8/layout/hList1"/>
    <dgm:cxn modelId="{593C7A44-4CA9-4969-82C2-71B903C7ED89}" type="presParOf" srcId="{FEFDEF03-16E3-412C-9F1B-575B086B5B29}" destId="{C3D05E81-BA92-43EA-9280-E606350D2775}" srcOrd="0" destOrd="0" presId="urn:microsoft.com/office/officeart/2005/8/layout/hList1"/>
    <dgm:cxn modelId="{4A71AC99-F204-409F-80FD-595039E00A2A}" type="presParOf" srcId="{FEFDEF03-16E3-412C-9F1B-575B086B5B29}" destId="{C924EE63-177B-4ADE-9747-82A8E2A7E194}" srcOrd="1" destOrd="0" presId="urn:microsoft.com/office/officeart/2005/8/layout/hList1"/>
    <dgm:cxn modelId="{3DC8E93C-E288-4BD4-BE5A-D10D9F2FE2D4}" type="presParOf" srcId="{206D9E41-87D6-4686-BCE3-23883CBBAE4A}" destId="{0C063FAF-9A6F-41C0-9373-B2BDC828763F}" srcOrd="5" destOrd="0" presId="urn:microsoft.com/office/officeart/2005/8/layout/hList1"/>
    <dgm:cxn modelId="{E8D99539-DCDF-4E59-A89F-242FAF6E3B2E}" type="presParOf" srcId="{206D9E41-87D6-4686-BCE3-23883CBBAE4A}" destId="{F32914EE-D123-4AA9-BEB5-9286543B5645}" srcOrd="6" destOrd="0" presId="urn:microsoft.com/office/officeart/2005/8/layout/hList1"/>
    <dgm:cxn modelId="{46A2BAD1-6CE2-49FF-B538-D9BB1B09F7C8}" type="presParOf" srcId="{F32914EE-D123-4AA9-BEB5-9286543B5645}" destId="{7C8F564B-A690-40F9-A496-17B5AA335855}" srcOrd="0" destOrd="0" presId="urn:microsoft.com/office/officeart/2005/8/layout/hList1"/>
    <dgm:cxn modelId="{971CAA39-FFC2-462F-8E1F-595FACD3E1DC}" type="presParOf" srcId="{F32914EE-D123-4AA9-BEB5-9286543B5645}" destId="{201D7ECF-A088-42EF-B6FC-40A1E12E018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82C4C0-3837-483F-91EF-4EB39D835990}">
      <dsp:nvSpPr>
        <dsp:cNvPr id="0" name=""/>
        <dsp:cNvSpPr/>
      </dsp:nvSpPr>
      <dsp:spPr>
        <a:xfrm>
          <a:off x="4288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Overall Benefits</a:t>
          </a:r>
        </a:p>
      </dsp:txBody>
      <dsp:txXfrm>
        <a:off x="4288" y="123002"/>
        <a:ext cx="2578439" cy="374400"/>
      </dsp:txXfrm>
    </dsp:sp>
    <dsp:sp modelId="{AF375C4E-087F-4C42-BFBB-4B985FC19630}">
      <dsp:nvSpPr>
        <dsp:cNvPr id="0" name=""/>
        <dsp:cNvSpPr/>
      </dsp:nvSpPr>
      <dsp:spPr>
        <a:xfrm>
          <a:off x="4288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Works across all the P&amp;C insurance platform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Agile develop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Functional and Regression Autom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Web and API test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Cross Browser test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40-50% effort reduction in script development saves the project overall timelines with maximum automation coverag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 20-25% effort reduction in test design phas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lexible execution reports with screen recording featu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No Synchronization issues as the framework handles it automatical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utomatically captured the object locator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tatic forms testing is eas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Less execution time comparing to other frameworks</a:t>
          </a:r>
        </a:p>
      </dsp:txBody>
      <dsp:txXfrm>
        <a:off x="4288" y="497402"/>
        <a:ext cx="2578439" cy="4710420"/>
      </dsp:txXfrm>
    </dsp:sp>
    <dsp:sp modelId="{36F78603-3D36-4F45-9186-9F8ABAED8920}">
      <dsp:nvSpPr>
        <dsp:cNvPr id="0" name=""/>
        <dsp:cNvSpPr/>
      </dsp:nvSpPr>
      <dsp:spPr>
        <a:xfrm>
          <a:off x="2943708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crease Automation	</a:t>
          </a:r>
        </a:p>
      </dsp:txBody>
      <dsp:txXfrm>
        <a:off x="2943708" y="123002"/>
        <a:ext cx="2578439" cy="374400"/>
      </dsp:txXfrm>
    </dsp:sp>
    <dsp:sp modelId="{E298ED86-65A2-4F25-B00E-5A43FD0EA44D}">
      <dsp:nvSpPr>
        <dsp:cNvPr id="0" name=""/>
        <dsp:cNvSpPr/>
      </dsp:nvSpPr>
      <dsp:spPr>
        <a:xfrm>
          <a:off x="2943708" y="422035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s progression testing of new features is possibl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Enable Manual/Functional testers to do test autom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nyone can automate</a:t>
          </a:r>
        </a:p>
      </dsp:txBody>
      <dsp:txXfrm>
        <a:off x="2943708" y="422035"/>
        <a:ext cx="2578439" cy="4710420"/>
      </dsp:txXfrm>
    </dsp:sp>
    <dsp:sp modelId="{C3D05E81-BA92-43EA-9280-E606350D2775}">
      <dsp:nvSpPr>
        <dsp:cNvPr id="0" name=""/>
        <dsp:cNvSpPr/>
      </dsp:nvSpPr>
      <dsp:spPr>
        <a:xfrm>
          <a:off x="5883129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ave Testing Effort</a:t>
          </a:r>
        </a:p>
      </dsp:txBody>
      <dsp:txXfrm>
        <a:off x="5883129" y="123002"/>
        <a:ext cx="2578439" cy="374400"/>
      </dsp:txXfrm>
    </dsp:sp>
    <dsp:sp modelId="{C924EE63-177B-4ADE-9747-82A8E2A7E194}">
      <dsp:nvSpPr>
        <dsp:cNvPr id="0" name=""/>
        <dsp:cNvSpPr/>
      </dsp:nvSpPr>
      <dsp:spPr>
        <a:xfrm>
          <a:off x="5883129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Reduce effort across testing lifecycle, test design and execution by optimizing the test cas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aster script develop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aster execu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lexible report featu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/>
        </a:p>
      </dsp:txBody>
      <dsp:txXfrm>
        <a:off x="5883129" y="497402"/>
        <a:ext cx="2578439" cy="4710420"/>
      </dsp:txXfrm>
    </dsp:sp>
    <dsp:sp modelId="{7C8F564B-A690-40F9-A496-17B5AA335855}">
      <dsp:nvSpPr>
        <dsp:cNvPr id="0" name=""/>
        <dsp:cNvSpPr/>
      </dsp:nvSpPr>
      <dsp:spPr>
        <a:xfrm>
          <a:off x="8822549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horten Time To Market</a:t>
          </a:r>
        </a:p>
      </dsp:txBody>
      <dsp:txXfrm>
        <a:off x="8822549" y="123002"/>
        <a:ext cx="2578439" cy="374400"/>
      </dsp:txXfrm>
    </dsp:sp>
    <dsp:sp modelId="{201D7ECF-A088-42EF-B6FC-40A1E12E0183}">
      <dsp:nvSpPr>
        <dsp:cNvPr id="0" name=""/>
        <dsp:cNvSpPr/>
      </dsp:nvSpPr>
      <dsp:spPr>
        <a:xfrm>
          <a:off x="8822549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tart automation activity ear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Write manual test cases that automate easi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Do test automation at faster pace</a:t>
          </a:r>
        </a:p>
      </dsp:txBody>
      <dsp:txXfrm>
        <a:off x="8822549" y="497402"/>
        <a:ext cx="2578439" cy="4710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BA1F0-E259-41ED-9B5B-A10950E5C0F8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1F16DF-DEFE-4B61-9843-E044693367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87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891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919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171798-EEC8-49BD-9588-0526F77F01B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435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F25FF-D712-4BC2-8DBC-1BEF3A3366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74F608-B0B2-407A-893C-7F73ECE887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CA2D77-4C61-44E6-888F-CC32C39D93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22C49D-FB6F-4CD6-AC7D-69529FBC5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2F23E-8C53-4FDF-B12E-FEFE9B6E8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009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B5887-760F-4A4C-AD37-B1740057E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E4B4C6-8DF1-4DB6-A0A0-FD4A3548A3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572F56-EB91-486D-832C-E2E6A8AF8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3B4E4A-18A5-44C5-BBED-0AB688AE8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928C8F-D8F5-4BD4-B608-F118AA255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73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B93349-EEC6-4012-ADAF-3BCC4340E5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ABE058-465B-4C36-8C26-9240F32BF0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1188CE-DC48-4CD9-8980-0E3A74441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1E6D17-CED0-46DE-A903-A5081223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3448D-E923-41FC-9B32-63129E817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642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2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49725" y="0"/>
            <a:ext cx="11663852" cy="677008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90771" y="1511300"/>
            <a:ext cx="11406552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388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542C5-7592-4865-AB4C-819EC507B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9FD15E-3210-458F-9380-C9EA9CCEB8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FDF6C-847F-4397-BF45-9C4D43DC9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DEB21E-451B-4AC4-8101-D12ECD763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3E7FC-FB11-41BD-B572-62240F371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459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8B3D5-4FF7-4846-8ABE-EF823DAB7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E3C6B2-45BC-4A66-AF22-4F4C86460E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B27586-52B2-43D8-8FDE-E7F0134CC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5E5AE0-8DB0-48C9-9A33-3752FE65F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6C5408-ECBC-49D3-A113-A1996A1DE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595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F70BF-59CD-4AC3-8F9F-521A85212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E8DF-40BD-4AE3-9D08-A7F8BA08BA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B1A511-E8B0-4B6F-AAF6-113AD23B5C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BFB45D-1933-43A6-A8CA-BA3EECC0B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973344-CD8E-4ACA-8F91-8D2DD14BA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D5A904-4E4E-42D7-A36A-604E15677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074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FD5FC-EE12-442F-ABD4-6266C491A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8093EF-D5D2-48B4-B169-E1ED32874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D1E126-60F3-4823-8BA8-C15B9BF45C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EBBA79-42A6-493E-A772-8C4BF050AE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C24073-6342-4688-8AD8-2A1D40F7A2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3EF127A-DACB-44CB-B839-24EB1A1A7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3258F7-73F3-4E19-AFCC-645303E6E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693AD1-B84B-438E-8FF5-DABFA6F09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622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6F47A-FF7F-4472-B09B-4B0C0E162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368C2-1094-4D99-8506-350DD3D2C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21795-64FF-410C-AE6F-763D36D0B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0B4260-D79E-4959-BD78-9E69216AC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713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A81B54-C6CD-4AF8-A413-78D19B4FD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E35BB6-EA9B-4ACD-BD98-07F47146E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59A5E-1065-48AA-918E-CBDFC1765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886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1D0C3-212B-4185-9D74-71D8DBA99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CD75A8-79C5-4851-91A1-B7C1732013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D862BB-CE73-44AE-BC08-41199144B0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BD6806-C0E5-406F-801E-F7335ED1C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946D90-52DE-4BC0-8F3B-3D503CDA5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043E11-8FA1-4038-8AA9-9F2DC151D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035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B12BF-678B-43FE-9A64-1F5308203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A8E33B-D856-407C-AE3E-A1676C5DEC1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9036C6-CC33-4E15-9E91-8D3A8102B1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69BBE4-5008-4C84-B9A5-C940E7448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DE8F3-D1C0-42A0-BE67-DE4A11EE6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909D8C-DE83-433E-AD8C-6CD833412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008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88AB59-51E5-4CBD-853E-E67DF2447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BCC5A1-1904-45D6-966E-8396D2AB6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A7569-86A9-4473-9583-860986C5DD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7F848-BA14-4B58-B64D-A2E4CD79DD5D}" type="datetimeFigureOut">
              <a:rPr lang="en-US" smtClean="0"/>
              <a:t>1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DE197-6729-4503-B65B-25D6612750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BBA95A-DA9C-4057-B3DC-C2A6305003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37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3D09407-53BC-485E-B4CE-BC5E4FC4B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1DB988-49FC-4608-B0A2-E2F3A4019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783CBC-79C0-49B9-A981-E6EC7A617C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03" y="3399769"/>
            <a:ext cx="10640754" cy="775845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tx2"/>
                </a:solidFill>
              </a:rPr>
              <a:t>ICW – Automation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06FCD-F128-4AC5-8B6D-68E9942EB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4121" y="4171528"/>
            <a:ext cx="9163757" cy="450447"/>
          </a:xfrm>
        </p:spPr>
        <p:txBody>
          <a:bodyPr anchor="ctr">
            <a:normAutofit/>
          </a:bodyPr>
          <a:lstStyle/>
          <a:p>
            <a:r>
              <a:rPr lang="en-US" sz="2000">
                <a:solidFill>
                  <a:schemeClr val="tx2"/>
                </a:solidFill>
              </a:rPr>
              <a:t>LTI - IPAT Frame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B930FD-8671-4C4C-ADCF-73AC1D0CD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9676747" y="0"/>
            <a:ext cx="2514948" cy="2174333"/>
            <a:chOff x="-305" y="-4155"/>
            <a:chExt cx="2514948" cy="2174333"/>
          </a:xfrm>
        </p:grpSpPr>
        <p:sp>
          <p:nvSpPr>
            <p:cNvPr id="38" name="Freeform: Shape 16">
              <a:extLst>
                <a:ext uri="{FF2B5EF4-FFF2-40B4-BE49-F238E27FC236}">
                  <a16:creationId xmlns:a16="http://schemas.microsoft.com/office/drawing/2014/main" id="{C35B12C1-569C-4E37-AA33-7EF215F201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23E2660-7810-46F6-8752-187127C830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: Shape 18">
              <a:extLst>
                <a:ext uri="{FF2B5EF4-FFF2-40B4-BE49-F238E27FC236}">
                  <a16:creationId xmlns:a16="http://schemas.microsoft.com/office/drawing/2014/main" id="{C991DC45-0378-45B3-B325-FB8F98545E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0" name="Freeform: Shape 19">
              <a:extLst>
                <a:ext uri="{FF2B5EF4-FFF2-40B4-BE49-F238E27FC236}">
                  <a16:creationId xmlns:a16="http://schemas.microsoft.com/office/drawing/2014/main" id="{E228F5BA-5150-4554-B7EA-93F371F3B1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Graphic 6" descr="Gears">
            <a:extLst>
              <a:ext uri="{FF2B5EF4-FFF2-40B4-BE49-F238E27FC236}">
                <a16:creationId xmlns:a16="http://schemas.microsoft.com/office/drawing/2014/main" id="{CACD757D-87AC-410D-A63D-6DF4F79000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6990" y="320231"/>
            <a:ext cx="2836567" cy="2836567"/>
          </a:xfrm>
          <a:prstGeom prst="rect">
            <a:avLst/>
          </a:prstGeom>
        </p:spPr>
      </p:pic>
      <p:grpSp>
        <p:nvGrpSpPr>
          <p:cNvPr id="41" name="Group 21">
            <a:extLst>
              <a:ext uri="{FF2B5EF4-FFF2-40B4-BE49-F238E27FC236}">
                <a16:creationId xmlns:a16="http://schemas.microsoft.com/office/drawing/2014/main" id="{383C2651-AE0C-4AE4-8725-E2F9414FE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 flipH="1">
            <a:off x="-305" y="4322879"/>
            <a:ext cx="3378428" cy="2535121"/>
            <a:chOff x="-305" y="-1"/>
            <a:chExt cx="3832880" cy="2876136"/>
          </a:xfrm>
        </p:grpSpPr>
        <p:sp>
          <p:nvSpPr>
            <p:cNvPr id="42" name="Freeform: Shape 22">
              <a:extLst>
                <a:ext uri="{FF2B5EF4-FFF2-40B4-BE49-F238E27FC236}">
                  <a16:creationId xmlns:a16="http://schemas.microsoft.com/office/drawing/2014/main" id="{CCE13265-B5D2-47B4-A199-E05F390D5B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93EBD03-D832-462C-9304-7273698ED4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0D53D3E2-805E-40D2-964F-352BF6D476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B7A9A916-A926-43E6-800F-432ABC3F24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7437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4135"/>
            <a:ext cx="10515600" cy="77559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B1B93"/>
                </a:solidFill>
                <a:latin typeface="+mn-lt"/>
              </a:rPr>
              <a:t>Architecture</a:t>
            </a:r>
            <a:r>
              <a:rPr lang="en-US" sz="4000" b="1" dirty="0">
                <a:solidFill>
                  <a:srgbClr val="0B1B93"/>
                </a:solidFill>
                <a:latin typeface="+mn-lt"/>
              </a:rPr>
              <a:t> </a:t>
            </a:r>
            <a:r>
              <a:rPr lang="en-US" sz="3600" b="1" dirty="0">
                <a:solidFill>
                  <a:srgbClr val="0B1B93"/>
                </a:solidFill>
                <a:latin typeface="+mn-lt"/>
              </a:rPr>
              <a:t>of IPAT automation framework -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9CF11-9A6C-4489-A555-95841BA96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6482"/>
            <a:ext cx="10515600" cy="468531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F2D544E-536F-486A-89CF-3F4BF7439818}"/>
              </a:ext>
            </a:extLst>
          </p:cNvPr>
          <p:cNvSpPr txBox="1">
            <a:spLocks/>
          </p:cNvSpPr>
          <p:nvPr/>
        </p:nvSpPr>
        <p:spPr>
          <a:xfrm>
            <a:off x="838200" y="1506481"/>
            <a:ext cx="10515600" cy="4670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le / Folder Structure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08B0CE-0AC9-4B3A-ADD7-68A4ED724BAB}"/>
              </a:ext>
            </a:extLst>
          </p:cNvPr>
          <p:cNvSpPr/>
          <p:nvPr/>
        </p:nvSpPr>
        <p:spPr>
          <a:xfrm>
            <a:off x="7606542" y="2606040"/>
            <a:ext cx="3171578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endencies and Librar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E1060D-E68A-4C12-941F-17C29936C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702" y="2029354"/>
            <a:ext cx="6057160" cy="386652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AE67D4A-DBAB-4D39-9444-1B3D0E948766}"/>
              </a:ext>
            </a:extLst>
          </p:cNvPr>
          <p:cNvSpPr/>
          <p:nvPr/>
        </p:nvSpPr>
        <p:spPr>
          <a:xfrm>
            <a:off x="7606542" y="3399941"/>
            <a:ext cx="3171578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s and Test Execution Re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684408-47F6-4C52-8C93-9B0DA0C91CFB}"/>
              </a:ext>
            </a:extLst>
          </p:cNvPr>
          <p:cNvSpPr/>
          <p:nvPr/>
        </p:nvSpPr>
        <p:spPr>
          <a:xfrm>
            <a:off x="7606542" y="4193842"/>
            <a:ext cx="3171578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ecute Batch file</a:t>
            </a:r>
          </a:p>
        </p:txBody>
      </p:sp>
    </p:spTree>
    <p:extLst>
      <p:ext uri="{BB962C8B-B14F-4D97-AF65-F5344CB8AC3E}">
        <p14:creationId xmlns:p14="http://schemas.microsoft.com/office/powerpoint/2010/main" val="1262229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2101"/>
          </a:xfrm>
        </p:spPr>
        <p:txBody>
          <a:bodyPr/>
          <a:lstStyle/>
          <a:p>
            <a:r>
              <a:rPr lang="en-US" sz="3600" b="1" dirty="0">
                <a:solidFill>
                  <a:srgbClr val="0B1B93"/>
                </a:solidFill>
                <a:latin typeface="+mn-lt"/>
              </a:rPr>
              <a:t>Test Execution Repor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EF5976F-CB85-4166-893A-973420EC893A}"/>
              </a:ext>
            </a:extLst>
          </p:cNvPr>
          <p:cNvSpPr txBox="1">
            <a:spLocks/>
          </p:cNvSpPr>
          <p:nvPr/>
        </p:nvSpPr>
        <p:spPr>
          <a:xfrm>
            <a:off x="838200" y="969760"/>
            <a:ext cx="3590109" cy="8721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Extent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403727-EECD-4C1F-8724-C5845067B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1489" y="1348585"/>
            <a:ext cx="6748807" cy="364119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42C497F-5983-446F-A089-E3D0CAA6C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658" y="2912012"/>
            <a:ext cx="6882481" cy="364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6760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83CBC-79C0-49B9-A981-E6EC7A617C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526" y="891701"/>
            <a:ext cx="10640754" cy="775845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tx2"/>
                </a:solidFill>
              </a:rPr>
              <a:t>ICW – Automation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06FCD-F128-4AC5-8B6D-68E9942EB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6024" y="1885528"/>
            <a:ext cx="9163757" cy="450447"/>
          </a:xfrm>
        </p:spPr>
        <p:txBody>
          <a:bodyPr anchor="ctr">
            <a:norm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LTI - IPAT Framework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9940A1B-304C-4E7A-9C24-C09C284B9AC5}"/>
              </a:ext>
            </a:extLst>
          </p:cNvPr>
          <p:cNvSpPr txBox="1">
            <a:spLocks/>
          </p:cNvSpPr>
          <p:nvPr/>
        </p:nvSpPr>
        <p:spPr>
          <a:xfrm>
            <a:off x="1398605" y="3461780"/>
            <a:ext cx="9163757" cy="450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2"/>
                </a:solidFill>
              </a:rPr>
              <a:t>Questions and Answers</a:t>
            </a:r>
          </a:p>
        </p:txBody>
      </p:sp>
    </p:spTree>
    <p:extLst>
      <p:ext uri="{BB962C8B-B14F-4D97-AF65-F5344CB8AC3E}">
        <p14:creationId xmlns:p14="http://schemas.microsoft.com/office/powerpoint/2010/main" val="448534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17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83CBC-79C0-49B9-A981-E6EC7A617C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623" y="2653155"/>
            <a:ext cx="10640754" cy="775845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tx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49378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4134"/>
            <a:ext cx="10515600" cy="1044482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B1B93"/>
                </a:solidFill>
                <a:latin typeface="+mn-lt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9CF11-9A6C-4489-A555-95841BA960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16CE319-290E-4844-B604-FEDE3FF37A55}"/>
              </a:ext>
            </a:extLst>
          </p:cNvPr>
          <p:cNvSpPr txBox="1">
            <a:spLocks/>
          </p:cNvSpPr>
          <p:nvPr/>
        </p:nvSpPr>
        <p:spPr>
          <a:xfrm>
            <a:off x="838200" y="1632011"/>
            <a:ext cx="10515600" cy="40719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PAT Automation Framework introduction.</a:t>
            </a:r>
          </a:p>
          <a:p>
            <a:r>
              <a:rPr lang="en-US" dirty="0"/>
              <a:t>ICW - Test Automation Process.</a:t>
            </a:r>
          </a:p>
          <a:p>
            <a:r>
              <a:rPr lang="en-US" dirty="0"/>
              <a:t>Benefits of IPAT.</a:t>
            </a:r>
          </a:p>
          <a:p>
            <a:r>
              <a:rPr lang="en-US" dirty="0"/>
              <a:t>IPAT Vs Other Automation Frameworks.</a:t>
            </a:r>
          </a:p>
          <a:p>
            <a:r>
              <a:rPr lang="en-US" dirty="0"/>
              <a:t>Presentation of IPAT Architecture with Application Under Test.</a:t>
            </a:r>
          </a:p>
          <a:p>
            <a:r>
              <a:rPr lang="en-US" dirty="0"/>
              <a:t>Test Execution Report and Recordings.</a:t>
            </a:r>
          </a:p>
          <a:p>
            <a:r>
              <a:rPr lang="en-US" dirty="0"/>
              <a:t>Questions &amp; Answers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84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9EEA3E-702D-4741-9F7E-A747A72A7E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2213" y="642937"/>
            <a:ext cx="11587574" cy="5572125"/>
          </a:xfrm>
        </p:spPr>
      </p:pic>
    </p:spTree>
    <p:extLst>
      <p:ext uri="{BB962C8B-B14F-4D97-AF65-F5344CB8AC3E}">
        <p14:creationId xmlns:p14="http://schemas.microsoft.com/office/powerpoint/2010/main" val="2662155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0561" y="365125"/>
            <a:ext cx="11405277" cy="1325563"/>
          </a:xfrm>
        </p:spPr>
        <p:txBody>
          <a:bodyPr/>
          <a:lstStyle/>
          <a:p>
            <a:r>
              <a:rPr lang="en-US" sz="3200" b="1" dirty="0">
                <a:solidFill>
                  <a:srgbClr val="0B1B93"/>
                </a:solidFill>
                <a:latin typeface="+mn-lt"/>
              </a:rPr>
              <a:t>ICW - Test Automation Process</a:t>
            </a:r>
            <a:br>
              <a:rPr lang="en-US" dirty="0"/>
            </a:br>
            <a:r>
              <a:rPr lang="en-US" sz="1800" i="1" dirty="0"/>
              <a:t>Driving efficiency &amp; coverage with a special focus on ICW functional automation Testing need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90562" y="1504662"/>
            <a:ext cx="11405277" cy="1009939"/>
            <a:chOff x="388973" y="1395801"/>
            <a:chExt cx="11405277" cy="1009939"/>
          </a:xfrm>
        </p:grpSpPr>
        <p:sp>
          <p:nvSpPr>
            <p:cNvPr id="25" name="CPTKTBGT21z12f01t10l10s01m01j0la0tb00i00u01"/>
            <p:cNvSpPr txBox="1">
              <a:spLocks/>
            </p:cNvSpPr>
            <p:nvPr/>
          </p:nvSpPr>
          <p:spPr>
            <a:xfrm>
              <a:off x="388973" y="1725556"/>
              <a:ext cx="11405277" cy="680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2" rtlCol="0" anchor="t">
              <a:noAutofit/>
            </a:bodyPr>
            <a:lstStyle/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Support smoke, functional, regression, cross browser and service testing across business functionalitie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romote faster builds, continuous integrations, shorter deployment cycle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creased coverage across Core Business area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creased consistency of testing leveraging Automation for manual intensive test cases </a:t>
              </a:r>
            </a:p>
          </p:txBody>
        </p:sp>
        <p:sp>
          <p:nvSpPr>
            <p:cNvPr id="26" name="CPTKTBGH21z12f08t01l08s01m00j0ca0cb01i00u00"/>
            <p:cNvSpPr txBox="1">
              <a:spLocks/>
            </p:cNvSpPr>
            <p:nvPr/>
          </p:nvSpPr>
          <p:spPr>
            <a:xfrm>
              <a:off x="388973" y="1395801"/>
              <a:ext cx="11405277" cy="329756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Objective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0562" y="2588764"/>
            <a:ext cx="11405277" cy="2453359"/>
            <a:chOff x="388973" y="2352072"/>
            <a:chExt cx="11405277" cy="2453359"/>
          </a:xfrm>
        </p:grpSpPr>
        <p:sp>
          <p:nvSpPr>
            <p:cNvPr id="29" name="Rectangle 28"/>
            <p:cNvSpPr>
              <a:spLocks/>
            </p:cNvSpPr>
            <p:nvPr/>
          </p:nvSpPr>
          <p:spPr>
            <a:xfrm>
              <a:off x="388973" y="2674623"/>
              <a:ext cx="11405277" cy="213080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>
              <a:noAutofit/>
            </a:bodyPr>
            <a:lstStyle/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Leverage LTI’ s reusable automation framework to build a Robust Automation Framework based on Selenium/TestNG framework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Early Automation approach to minimize Risks related to potential gaps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Automated Smoke testing and environmental availability testing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Leverage automation Scripts for Development and UAT Phases as appropriate (eg – Automated Unit testing framework)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Scriptless Automation for effective functional testing, modular tests and browser compatibility tests 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Trigger lab deployment and integrate the framework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tegrate Automated scripts with continuous integration (Jenkins etc.) pipeline and automate reporting to ICW stakeholders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Focus on coverage across key business areas enhancing the team to accelerate the testing during SIT phase</a:t>
              </a:r>
            </a:p>
          </p:txBody>
        </p:sp>
        <p:sp>
          <p:nvSpPr>
            <p:cNvPr id="30" name="CPTKTBGH21z12f08t01l08s01m00j0ca0cb01i00u00"/>
            <p:cNvSpPr txBox="1">
              <a:spLocks/>
            </p:cNvSpPr>
            <p:nvPr/>
          </p:nvSpPr>
          <p:spPr>
            <a:xfrm>
              <a:off x="388973" y="2352072"/>
              <a:ext cx="11405277" cy="32929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Approach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90561" y="5116286"/>
            <a:ext cx="11412198" cy="1121229"/>
            <a:chOff x="388973" y="5199561"/>
            <a:chExt cx="11412198" cy="1121229"/>
          </a:xfrm>
        </p:grpSpPr>
        <p:sp>
          <p:nvSpPr>
            <p:cNvPr id="27" name="CPTKTBGT21z12f01t10l10s01m01j0la0tb00i00u01"/>
            <p:cNvSpPr txBox="1">
              <a:spLocks/>
            </p:cNvSpPr>
            <p:nvPr/>
          </p:nvSpPr>
          <p:spPr>
            <a:xfrm>
              <a:off x="388973" y="5528852"/>
              <a:ext cx="5646904" cy="7919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2" rtlCol="0" anchor="t">
              <a:noAutofit/>
            </a:bodyPr>
            <a:lstStyle/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Reusable and scalable automation framework with substantial functional coverage across key business areas</a:t>
              </a:r>
            </a:p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Reusable automation scripts for different areas of the application landscape</a:t>
              </a:r>
            </a:p>
          </p:txBody>
        </p:sp>
        <p:sp>
          <p:nvSpPr>
            <p:cNvPr id="28" name="CPTKTBGT21z12f01t10l10s01m01j0la0tb00i00u01"/>
            <p:cNvSpPr txBox="1">
              <a:spLocks/>
            </p:cNvSpPr>
            <p:nvPr/>
          </p:nvSpPr>
          <p:spPr>
            <a:xfrm>
              <a:off x="6154267" y="5528852"/>
              <a:ext cx="5646904" cy="7919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>
              <a:noAutofit/>
            </a:bodyPr>
            <a:lstStyle/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DF compare tool</a:t>
              </a:r>
            </a:p>
          </p:txBody>
        </p:sp>
        <p:sp>
          <p:nvSpPr>
            <p:cNvPr id="31" name="CPTKTBGH21z12f08t01l08s01m00j0ca0cb01i00u00"/>
            <p:cNvSpPr txBox="1">
              <a:spLocks/>
            </p:cNvSpPr>
            <p:nvPr/>
          </p:nvSpPr>
          <p:spPr>
            <a:xfrm>
              <a:off x="6147346" y="5199561"/>
              <a:ext cx="5646904" cy="32929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Accelerators</a:t>
              </a:r>
            </a:p>
          </p:txBody>
        </p:sp>
        <p:sp>
          <p:nvSpPr>
            <p:cNvPr id="32" name="CPTKTBGH21z12f08t01l08s01m00j0ca0cb01i00u00"/>
            <p:cNvSpPr txBox="1">
              <a:spLocks/>
            </p:cNvSpPr>
            <p:nvPr/>
          </p:nvSpPr>
          <p:spPr>
            <a:xfrm>
              <a:off x="388973" y="5199561"/>
              <a:ext cx="5646904" cy="32929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Expected deliverables/outcom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6867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0560" y="174625"/>
            <a:ext cx="11405277" cy="1325563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rgbClr val="0B1B93"/>
                </a:solidFill>
                <a:latin typeface="+mn-lt"/>
              </a:rPr>
              <a:t>Benefits</a:t>
            </a:r>
            <a:br>
              <a:rPr lang="en-US" dirty="0"/>
            </a:br>
            <a:endParaRPr lang="en-US" sz="1800" i="1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662BDCF-D804-41D4-96F8-708EF6D0AEF4}"/>
              </a:ext>
            </a:extLst>
          </p:cNvPr>
          <p:cNvGraphicFramePr/>
          <p:nvPr/>
        </p:nvGraphicFramePr>
        <p:xfrm>
          <a:off x="390561" y="1162050"/>
          <a:ext cx="11405277" cy="533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976844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046" y="70336"/>
            <a:ext cx="11290685" cy="6858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0B1B93"/>
                </a:solidFill>
                <a:latin typeface="+mn-lt"/>
              </a:rPr>
              <a:t>IPAT Vs Other Automation Frameworks</a:t>
            </a:r>
          </a:p>
        </p:txBody>
      </p:sp>
      <p:grpSp>
        <p:nvGrpSpPr>
          <p:cNvPr id="100" name="Group 99"/>
          <p:cNvGrpSpPr/>
          <p:nvPr/>
        </p:nvGrpSpPr>
        <p:grpSpPr>
          <a:xfrm>
            <a:off x="556662" y="732914"/>
            <a:ext cx="11181069" cy="5400282"/>
            <a:chOff x="502874" y="732914"/>
            <a:chExt cx="8469633" cy="3887148"/>
          </a:xfrm>
        </p:grpSpPr>
        <p:sp>
          <p:nvSpPr>
            <p:cNvPr id="103" name="Rectangle 102"/>
            <p:cNvSpPr/>
            <p:nvPr/>
          </p:nvSpPr>
          <p:spPr>
            <a:xfrm>
              <a:off x="910871" y="2338823"/>
              <a:ext cx="8059615" cy="22812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 cap="flat" cmpd="sng" algn="ctr">
              <a:solidFill>
                <a:sysClr val="windowText" lastClr="000000">
                  <a:lumMod val="60000"/>
                  <a:lumOff val="40000"/>
                </a:sysClr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914400" y="1148953"/>
              <a:ext cx="8058107" cy="116681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solidFill>
                <a:sysClr val="windowText" lastClr="000000">
                  <a:lumMod val="60000"/>
                  <a:lumOff val="40000"/>
                </a:sysClr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5" name="Rounded Rectangle 10"/>
            <p:cNvSpPr/>
            <p:nvPr/>
          </p:nvSpPr>
          <p:spPr>
            <a:xfrm>
              <a:off x="936381" y="1229916"/>
              <a:ext cx="1096108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Planning</a:t>
              </a:r>
            </a:p>
          </p:txBody>
        </p:sp>
        <p:sp>
          <p:nvSpPr>
            <p:cNvPr id="106" name="Rounded Rectangle 11"/>
            <p:cNvSpPr/>
            <p:nvPr/>
          </p:nvSpPr>
          <p:spPr>
            <a:xfrm>
              <a:off x="1884485" y="1489472"/>
              <a:ext cx="3207727" cy="20478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Design</a:t>
              </a:r>
            </a:p>
          </p:txBody>
        </p:sp>
        <p:sp>
          <p:nvSpPr>
            <p:cNvPr id="107" name="Rounded Rectangle 12"/>
            <p:cNvSpPr/>
            <p:nvPr/>
          </p:nvSpPr>
          <p:spPr>
            <a:xfrm>
              <a:off x="1884485" y="1690687"/>
              <a:ext cx="1913792" cy="20478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Manual test preparation</a:t>
              </a:r>
            </a:p>
          </p:txBody>
        </p:sp>
        <p:sp>
          <p:nvSpPr>
            <p:cNvPr id="108" name="Rounded Rectangle 13"/>
            <p:cNvSpPr/>
            <p:nvPr/>
          </p:nvSpPr>
          <p:spPr>
            <a:xfrm>
              <a:off x="3065172" y="1907381"/>
              <a:ext cx="2009453" cy="20597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development</a:t>
              </a:r>
            </a:p>
          </p:txBody>
        </p:sp>
        <p:sp>
          <p:nvSpPr>
            <p:cNvPr id="109" name="Rounded Rectangle 14"/>
            <p:cNvSpPr/>
            <p:nvPr/>
          </p:nvSpPr>
          <p:spPr>
            <a:xfrm>
              <a:off x="5084885" y="1697831"/>
              <a:ext cx="2986454" cy="205979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Execution</a:t>
              </a:r>
            </a:p>
          </p:txBody>
        </p:sp>
        <p:sp>
          <p:nvSpPr>
            <p:cNvPr id="110" name="Rounded Rectangle 16"/>
            <p:cNvSpPr/>
            <p:nvPr/>
          </p:nvSpPr>
          <p:spPr>
            <a:xfrm>
              <a:off x="933451" y="2570560"/>
              <a:ext cx="1097573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Planning</a:t>
              </a:r>
            </a:p>
          </p:txBody>
        </p:sp>
        <p:sp>
          <p:nvSpPr>
            <p:cNvPr id="111" name="Rounded Rectangle 17"/>
            <p:cNvSpPr/>
            <p:nvPr/>
          </p:nvSpPr>
          <p:spPr>
            <a:xfrm>
              <a:off x="1883020" y="2830116"/>
              <a:ext cx="2110154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Design</a:t>
              </a:r>
            </a:p>
          </p:txBody>
        </p:sp>
        <p:sp>
          <p:nvSpPr>
            <p:cNvPr id="112" name="Rounded Rectangle 18"/>
            <p:cNvSpPr/>
            <p:nvPr/>
          </p:nvSpPr>
          <p:spPr>
            <a:xfrm>
              <a:off x="1883020" y="3031331"/>
              <a:ext cx="1587836" cy="20597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Manual test preparation</a:t>
              </a:r>
            </a:p>
          </p:txBody>
        </p:sp>
        <p:sp>
          <p:nvSpPr>
            <p:cNvPr id="113" name="Rounded Rectangle 19"/>
            <p:cNvSpPr/>
            <p:nvPr/>
          </p:nvSpPr>
          <p:spPr>
            <a:xfrm>
              <a:off x="2065704" y="3296938"/>
              <a:ext cx="1617659" cy="20597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development</a:t>
              </a:r>
            </a:p>
          </p:txBody>
        </p:sp>
        <p:sp>
          <p:nvSpPr>
            <p:cNvPr id="114" name="Rounded Rectangle 21"/>
            <p:cNvSpPr/>
            <p:nvPr/>
          </p:nvSpPr>
          <p:spPr>
            <a:xfrm>
              <a:off x="6466256" y="3300072"/>
              <a:ext cx="814754" cy="325041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Closure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087316" y="3644552"/>
              <a:ext cx="2383540" cy="441193"/>
            </a:xfrm>
            <a:prstGeom prst="wedgeRoundRectCallout">
              <a:avLst>
                <a:gd name="adj1" fmla="val 20760"/>
                <a:gd name="adj2" fmla="val -74073"/>
                <a:gd name="adj3" fmla="val 16667"/>
              </a:avLst>
            </a:prstGeom>
            <a:solidFill>
              <a:sysClr val="window" lastClr="FFFFFF"/>
            </a:solidFill>
            <a:ln w="3175" cap="flat" cmpd="sng" algn="ctr">
              <a:solidFill>
                <a:srgbClr val="4BACC6">
                  <a:lumMod val="75000"/>
                </a:srgbClr>
              </a:solidFill>
              <a:prstDash val="solid"/>
            </a:ln>
            <a:effectLst/>
          </p:spPr>
          <p:txBody>
            <a:bodyPr wrap="square" lIns="38963" tIns="0" rIns="38963" bIns="0">
              <a:spAutoFit/>
            </a:bodyPr>
            <a:lstStyle/>
            <a:p>
              <a:pPr marL="77925" marR="0" lvl="0" indent="-77925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Progression + Regression automation</a:t>
              </a:r>
            </a:p>
            <a:p>
              <a:pPr marL="77925" marR="0" lvl="0" indent="-77925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Reduced automation effort using a Lean automation team</a:t>
              </a:r>
            </a:p>
          </p:txBody>
        </p:sp>
        <p:sp>
          <p:nvSpPr>
            <p:cNvPr id="116" name="TextBox 115"/>
            <p:cNvSpPr txBox="1"/>
            <p:nvPr/>
          </p:nvSpPr>
          <p:spPr>
            <a:xfrm rot="16200000">
              <a:off x="-468059" y="3309756"/>
              <a:ext cx="2281239" cy="33937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 cap="flat" cmpd="sng" algn="ctr">
              <a:solidFill>
                <a:srgbClr val="F79646">
                  <a:lumMod val="75000"/>
                </a:srgbClr>
              </a:solidFill>
              <a:prstDash val="solid"/>
            </a:ln>
            <a:effectLst/>
          </p:spPr>
          <p:txBody>
            <a:bodyPr wrap="none" lIns="77925" tIns="38963" rIns="77925" bIns="38963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using</a:t>
              </a:r>
            </a:p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IPAT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 rot="16200000">
              <a:off x="90317" y="1560901"/>
              <a:ext cx="1164488" cy="339373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77925" tIns="38963" rIns="77925" bIns="38963">
              <a:spAutoFit/>
            </a:bodyPr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Regular</a:t>
              </a:r>
            </a:p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</a:t>
              </a:r>
            </a:p>
          </p:txBody>
        </p:sp>
        <p:grpSp>
          <p:nvGrpSpPr>
            <p:cNvPr id="118" name="Group 39"/>
            <p:cNvGrpSpPr>
              <a:grpSpLocks/>
            </p:cNvGrpSpPr>
            <p:nvPr/>
          </p:nvGrpSpPr>
          <p:grpSpPr bwMode="auto">
            <a:xfrm>
              <a:off x="878959" y="732914"/>
              <a:ext cx="8078299" cy="383407"/>
              <a:chOff x="951835" y="858309"/>
              <a:chExt cx="8751638" cy="445063"/>
            </a:xfrm>
          </p:grpSpPr>
          <p:sp>
            <p:nvSpPr>
              <p:cNvPr id="136" name="Right Arrow 26"/>
              <p:cNvSpPr/>
              <p:nvPr/>
            </p:nvSpPr>
            <p:spPr>
              <a:xfrm>
                <a:off x="1004230" y="1121305"/>
                <a:ext cx="8699243" cy="182067"/>
              </a:xfrm>
              <a:prstGeom prst="rightArrow">
                <a:avLst>
                  <a:gd name="adj1" fmla="val 100000"/>
                  <a:gd name="adj2" fmla="val 50000"/>
                </a:avLst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marL="0" marR="0" lvl="0" indent="0" algn="ctr" defTabSz="7181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37" name="Group 241"/>
              <p:cNvGrpSpPr>
                <a:grpSpLocks/>
              </p:cNvGrpSpPr>
              <p:nvPr/>
            </p:nvGrpSpPr>
            <p:grpSpPr bwMode="auto">
              <a:xfrm>
                <a:off x="951835" y="858309"/>
                <a:ext cx="446213" cy="395895"/>
                <a:chOff x="673944" y="983602"/>
                <a:chExt cx="568469" cy="470554"/>
              </a:xfrm>
            </p:grpSpPr>
            <p:sp>
              <p:nvSpPr>
                <p:cNvPr id="147" name="TextBox 146"/>
                <p:cNvSpPr txBox="1"/>
                <p:nvPr/>
              </p:nvSpPr>
              <p:spPr>
                <a:xfrm>
                  <a:off x="673944" y="983602"/>
                  <a:ext cx="568469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0</a:t>
                  </a:r>
                </a:p>
              </p:txBody>
            </p:sp>
            <p:sp>
              <p:nvSpPr>
                <p:cNvPr id="148" name="Oval 29"/>
                <p:cNvSpPr>
                  <a:spLocks noChangeArrowheads="1"/>
                </p:cNvSpPr>
                <p:nvPr/>
              </p:nvSpPr>
              <p:spPr bwMode="auto">
                <a:xfrm>
                  <a:off x="838200" y="1362716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8" name="Group 242"/>
              <p:cNvGrpSpPr>
                <a:grpSpLocks/>
              </p:cNvGrpSpPr>
              <p:nvPr/>
            </p:nvGrpSpPr>
            <p:grpSpPr bwMode="auto">
              <a:xfrm>
                <a:off x="2096740" y="865782"/>
                <a:ext cx="510671" cy="388421"/>
                <a:chOff x="609771" y="992485"/>
                <a:chExt cx="650587" cy="461671"/>
              </a:xfrm>
            </p:grpSpPr>
            <p:sp>
              <p:nvSpPr>
                <p:cNvPr id="145" name="TextBox 144"/>
                <p:cNvSpPr txBox="1"/>
                <p:nvPr/>
              </p:nvSpPr>
              <p:spPr>
                <a:xfrm>
                  <a:off x="609771" y="992485"/>
                  <a:ext cx="650587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10</a:t>
                  </a:r>
                </a:p>
              </p:txBody>
            </p:sp>
            <p:sp>
              <p:nvSpPr>
                <p:cNvPr id="146" name="Oval 32"/>
                <p:cNvSpPr>
                  <a:spLocks noChangeArrowheads="1"/>
                </p:cNvSpPr>
                <p:nvPr/>
              </p:nvSpPr>
              <p:spPr bwMode="auto">
                <a:xfrm>
                  <a:off x="838200" y="1362716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9" name="Group 249"/>
              <p:cNvGrpSpPr>
                <a:grpSpLocks/>
              </p:cNvGrpSpPr>
              <p:nvPr/>
            </p:nvGrpSpPr>
            <p:grpSpPr bwMode="auto">
              <a:xfrm>
                <a:off x="8899290" y="888207"/>
                <a:ext cx="560659" cy="358524"/>
                <a:chOff x="609122" y="1019135"/>
                <a:chExt cx="714272" cy="426134"/>
              </a:xfrm>
            </p:grpSpPr>
            <p:sp>
              <p:nvSpPr>
                <p:cNvPr id="143" name="TextBox 142"/>
                <p:cNvSpPr txBox="1"/>
                <p:nvPr/>
              </p:nvSpPr>
              <p:spPr>
                <a:xfrm>
                  <a:off x="609122" y="1019135"/>
                  <a:ext cx="714272" cy="275095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60 Days</a:t>
                  </a:r>
                </a:p>
              </p:txBody>
            </p:sp>
            <p:sp>
              <p:nvSpPr>
                <p:cNvPr id="144" name="Oval 35"/>
                <p:cNvSpPr>
                  <a:spLocks noChangeArrowheads="1"/>
                </p:cNvSpPr>
                <p:nvPr/>
              </p:nvSpPr>
              <p:spPr bwMode="auto">
                <a:xfrm>
                  <a:off x="838199" y="1353830"/>
                  <a:ext cx="91439" cy="91439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40" name="Group 242"/>
              <p:cNvGrpSpPr>
                <a:grpSpLocks/>
              </p:cNvGrpSpPr>
              <p:nvPr/>
            </p:nvGrpSpPr>
            <p:grpSpPr bwMode="auto">
              <a:xfrm>
                <a:off x="5236867" y="859681"/>
                <a:ext cx="510670" cy="389044"/>
                <a:chOff x="609552" y="1018400"/>
                <a:chExt cx="650587" cy="462411"/>
              </a:xfrm>
            </p:grpSpPr>
            <p:sp>
              <p:nvSpPr>
                <p:cNvPr id="141" name="TextBox 140"/>
                <p:cNvSpPr txBox="1"/>
                <p:nvPr/>
              </p:nvSpPr>
              <p:spPr>
                <a:xfrm>
                  <a:off x="609552" y="1018400"/>
                  <a:ext cx="650587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30</a:t>
                  </a:r>
                </a:p>
              </p:txBody>
            </p:sp>
            <p:sp>
              <p:nvSpPr>
                <p:cNvPr id="142" name="Oval 38"/>
                <p:cNvSpPr>
                  <a:spLocks noChangeArrowheads="1"/>
                </p:cNvSpPr>
                <p:nvPr/>
              </p:nvSpPr>
              <p:spPr bwMode="auto">
                <a:xfrm>
                  <a:off x="838200" y="1389371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</p:grpSp>
        <p:cxnSp>
          <p:nvCxnSpPr>
            <p:cNvPr id="119" name="Straight Connector 118"/>
            <p:cNvCxnSpPr/>
            <p:nvPr/>
          </p:nvCxnSpPr>
          <p:spPr>
            <a:xfrm>
              <a:off x="929899" y="2330869"/>
              <a:ext cx="8018585" cy="0"/>
            </a:xfrm>
            <a:prstGeom prst="line">
              <a:avLst/>
            </a:prstGeom>
            <a:noFill/>
            <a:ln w="38100" cap="flat" cmpd="sng" algn="ctr">
              <a:solidFill>
                <a:srgbClr val="C0504D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pic>
          <p:nvPicPr>
            <p:cNvPr id="120" name="Picture 44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65384" y="1697831"/>
              <a:ext cx="181708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1" name="Picture 45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74935" y="1697831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2" name="Picture 46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624504" y="1908572"/>
              <a:ext cx="18024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" name="Picture 47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34055" y="1908572"/>
              <a:ext cx="197827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4" name="Picture 48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37543" y="3037285"/>
              <a:ext cx="181708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5" name="Picture 49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47092" y="3037285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6" name="Picture 51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40921" y="3305976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7" name="Rectangle: Rounded Corners 126"/>
            <p:cNvSpPr/>
            <p:nvPr/>
          </p:nvSpPr>
          <p:spPr>
            <a:xfrm>
              <a:off x="4556826" y="4005331"/>
              <a:ext cx="1933363" cy="547523"/>
            </a:xfrm>
            <a:prstGeom prst="roundRect">
              <a:avLst/>
            </a:prstGeom>
            <a:gradFill rotWithShape="1">
              <a:gsLst>
                <a:gs pos="0">
                  <a:srgbClr val="9BBB59">
                    <a:shade val="51000"/>
                    <a:satMod val="130000"/>
                  </a:srgbClr>
                </a:gs>
                <a:gs pos="80000">
                  <a:srgbClr val="9BBB59">
                    <a:shade val="93000"/>
                    <a:satMod val="130000"/>
                  </a:srgbClr>
                </a:gs>
                <a:gs pos="100000">
                  <a:srgbClr val="9BBB59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9BBB59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8963" tIns="0" rIns="38963" bIns="0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Effort Reductio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30-35% in Test Desig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35-40% in Auto Dev</a:t>
              </a:r>
            </a:p>
          </p:txBody>
        </p:sp>
        <p:sp>
          <p:nvSpPr>
            <p:cNvPr id="128" name="Up Arrow 53"/>
            <p:cNvSpPr/>
            <p:nvPr/>
          </p:nvSpPr>
          <p:spPr>
            <a:xfrm flipV="1">
              <a:off x="6320204" y="4250921"/>
              <a:ext cx="386862" cy="304800"/>
            </a:xfrm>
            <a:prstGeom prst="upArrow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9" name="Rectangle: Rounded Corners 128"/>
            <p:cNvSpPr/>
            <p:nvPr/>
          </p:nvSpPr>
          <p:spPr>
            <a:xfrm>
              <a:off x="6774474" y="4005331"/>
              <a:ext cx="1968011" cy="554668"/>
            </a:xfrm>
            <a:prstGeom prst="roundRect">
              <a:avLst/>
            </a:prstGeom>
            <a:gradFill rotWithShape="1">
              <a:gsLst>
                <a:gs pos="0">
                  <a:srgbClr val="9BBB59">
                    <a:shade val="51000"/>
                    <a:satMod val="130000"/>
                  </a:srgbClr>
                </a:gs>
                <a:gs pos="80000">
                  <a:srgbClr val="9BBB59">
                    <a:shade val="93000"/>
                    <a:satMod val="130000"/>
                  </a:srgbClr>
                </a:gs>
                <a:gs pos="100000">
                  <a:srgbClr val="9BBB59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9BBB59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8963" tIns="0" rIns="38963" bIns="0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Cycle Time Reductio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15% in Test Cycle Time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0" name="Up Arrow 57"/>
            <p:cNvSpPr/>
            <p:nvPr/>
          </p:nvSpPr>
          <p:spPr>
            <a:xfrm flipV="1">
              <a:off x="8551501" y="4248759"/>
              <a:ext cx="386862" cy="303610"/>
            </a:xfrm>
            <a:prstGeom prst="upArrow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object 173"/>
            <p:cNvSpPr>
              <a:spLocks noChangeArrowheads="1"/>
            </p:cNvSpPr>
            <p:nvPr/>
          </p:nvSpPr>
          <p:spPr bwMode="auto">
            <a:xfrm>
              <a:off x="7669369" y="2838598"/>
              <a:ext cx="862878" cy="864122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32" name="Rounded Rectangle 119"/>
            <p:cNvSpPr/>
            <p:nvPr/>
          </p:nvSpPr>
          <p:spPr>
            <a:xfrm>
              <a:off x="8072227" y="1910295"/>
              <a:ext cx="816219" cy="325041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Closure</a:t>
              </a:r>
            </a:p>
          </p:txBody>
        </p:sp>
        <p:sp>
          <p:nvSpPr>
            <p:cNvPr id="133" name="Rounded Rectangle 120"/>
            <p:cNvSpPr/>
            <p:nvPr/>
          </p:nvSpPr>
          <p:spPr>
            <a:xfrm>
              <a:off x="3498637" y="3073724"/>
              <a:ext cx="2986454" cy="205979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Execution</a:t>
              </a:r>
            </a:p>
          </p:txBody>
        </p:sp>
        <p:cxnSp>
          <p:nvCxnSpPr>
            <p:cNvPr id="134" name="Straight Connector 133"/>
            <p:cNvCxnSpPr/>
            <p:nvPr/>
          </p:nvCxnSpPr>
          <p:spPr>
            <a:xfrm>
              <a:off x="8834907" y="2453425"/>
              <a:ext cx="6439" cy="1481071"/>
            </a:xfrm>
            <a:prstGeom prst="line">
              <a:avLst/>
            </a:prstGeom>
            <a:noFill/>
            <a:ln w="28575" cap="flat" cmpd="sng" algn="ctr">
              <a:solidFill>
                <a:srgbClr val="6A9529"/>
              </a:solidFill>
              <a:prstDash val="sysDash"/>
            </a:ln>
            <a:effectLst/>
          </p:spPr>
        </p:cxnSp>
        <p:cxnSp>
          <p:nvCxnSpPr>
            <p:cNvPr id="135" name="Straight Connector 134"/>
            <p:cNvCxnSpPr/>
            <p:nvPr/>
          </p:nvCxnSpPr>
          <p:spPr>
            <a:xfrm>
              <a:off x="7403206" y="2470597"/>
              <a:ext cx="6439" cy="1481071"/>
            </a:xfrm>
            <a:prstGeom prst="line">
              <a:avLst/>
            </a:prstGeom>
            <a:noFill/>
            <a:ln w="28575" cap="flat" cmpd="sng" algn="ctr">
              <a:solidFill>
                <a:srgbClr val="6A9529"/>
              </a:solidFill>
              <a:prstDash val="sys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14926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394" y="600261"/>
            <a:ext cx="10678882" cy="77559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B1B93"/>
                </a:solidFill>
                <a:latin typeface="+mn-lt"/>
              </a:rPr>
              <a:t>Architecture</a:t>
            </a:r>
            <a:r>
              <a:rPr lang="en-US" sz="4000" dirty="0"/>
              <a:t> </a:t>
            </a:r>
            <a:r>
              <a:rPr lang="en-US" sz="3600" b="1" dirty="0">
                <a:solidFill>
                  <a:srgbClr val="0B1B93"/>
                </a:solidFill>
                <a:latin typeface="+mn-lt"/>
              </a:rPr>
              <a:t>of IPAT automation framework -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9CF11-9A6C-4489-A555-95841BA96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6482"/>
            <a:ext cx="10515600" cy="468531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F2D544E-536F-486A-89CF-3F4BF7439818}"/>
              </a:ext>
            </a:extLst>
          </p:cNvPr>
          <p:cNvSpPr txBox="1">
            <a:spLocks/>
          </p:cNvSpPr>
          <p:nvPr/>
        </p:nvSpPr>
        <p:spPr>
          <a:xfrm>
            <a:off x="838200" y="1506481"/>
            <a:ext cx="10515600" cy="4670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guration Setup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30F8B9-49A4-472B-A319-43DCB11B55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6177" y="1979241"/>
            <a:ext cx="6040419" cy="434102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D08B0CE-0AC9-4B3A-ADD7-68A4ED724BAB}"/>
              </a:ext>
            </a:extLst>
          </p:cNvPr>
          <p:cNvSpPr/>
          <p:nvPr/>
        </p:nvSpPr>
        <p:spPr>
          <a:xfrm>
            <a:off x="7709263" y="2240501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tion of Test input fi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48BBE0-B4F7-422F-ACB6-8970080013A2}"/>
              </a:ext>
            </a:extLst>
          </p:cNvPr>
          <p:cNvSpPr/>
          <p:nvPr/>
        </p:nvSpPr>
        <p:spPr>
          <a:xfrm>
            <a:off x="7709262" y="2939383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cation of Object Repository fi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844EC-DAF3-4859-A7C4-AE591BD10901}"/>
              </a:ext>
            </a:extLst>
          </p:cNvPr>
          <p:cNvSpPr/>
          <p:nvPr/>
        </p:nvSpPr>
        <p:spPr>
          <a:xfrm>
            <a:off x="7717970" y="3673062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vironment and Application UR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E14E32-9544-4061-9620-C256546B6A51}"/>
              </a:ext>
            </a:extLst>
          </p:cNvPr>
          <p:cNvSpPr/>
          <p:nvPr/>
        </p:nvSpPr>
        <p:spPr>
          <a:xfrm>
            <a:off x="7717969" y="4371944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source and MongoDB connec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45F8E6-DA77-47BE-8F85-120E07FACFC9}"/>
              </a:ext>
            </a:extLst>
          </p:cNvPr>
          <p:cNvSpPr/>
          <p:nvPr/>
        </p:nvSpPr>
        <p:spPr>
          <a:xfrm>
            <a:off x="7739740" y="5053372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arrier / Download path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00A1C-F2BC-469C-99C7-5AD50DDB7493}"/>
              </a:ext>
            </a:extLst>
          </p:cNvPr>
          <p:cNvSpPr/>
          <p:nvPr/>
        </p:nvSpPr>
        <p:spPr>
          <a:xfrm>
            <a:off x="7739739" y="5752254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er Interaction / Screen Recording</a:t>
            </a:r>
          </a:p>
        </p:txBody>
      </p:sp>
    </p:spTree>
    <p:extLst>
      <p:ext uri="{BB962C8B-B14F-4D97-AF65-F5344CB8AC3E}">
        <p14:creationId xmlns:p14="http://schemas.microsoft.com/office/powerpoint/2010/main" val="731014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4135"/>
            <a:ext cx="10515600" cy="77559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B1B93"/>
                </a:solidFill>
                <a:latin typeface="+mn-lt"/>
              </a:rPr>
              <a:t>Architecture</a:t>
            </a:r>
            <a:r>
              <a:rPr lang="en-US" sz="4000" b="1" dirty="0">
                <a:solidFill>
                  <a:srgbClr val="0B1B93"/>
                </a:solidFill>
                <a:latin typeface="+mn-lt"/>
              </a:rPr>
              <a:t> </a:t>
            </a:r>
            <a:r>
              <a:rPr lang="en-US" sz="3600" b="1" dirty="0">
                <a:solidFill>
                  <a:srgbClr val="0B1B93"/>
                </a:solidFill>
                <a:latin typeface="+mn-lt"/>
              </a:rPr>
              <a:t>of IPAT automation framework -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9CF11-9A6C-4489-A555-95841BA96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6482"/>
            <a:ext cx="10515600" cy="468531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F2D544E-536F-486A-89CF-3F4BF7439818}"/>
              </a:ext>
            </a:extLst>
          </p:cNvPr>
          <p:cNvSpPr txBox="1">
            <a:spLocks/>
          </p:cNvSpPr>
          <p:nvPr/>
        </p:nvSpPr>
        <p:spPr>
          <a:xfrm>
            <a:off x="838200" y="1506481"/>
            <a:ext cx="10515600" cy="4670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st Suite and Test Case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08B0CE-0AC9-4B3A-ADD7-68A4ED724BAB}"/>
              </a:ext>
            </a:extLst>
          </p:cNvPr>
          <p:cNvSpPr/>
          <p:nvPr/>
        </p:nvSpPr>
        <p:spPr>
          <a:xfrm>
            <a:off x="1863587" y="5688017"/>
            <a:ext cx="3644537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estSuite consist all the Test cas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48BBE0-B4F7-422F-ACB6-8970080013A2}"/>
              </a:ext>
            </a:extLst>
          </p:cNvPr>
          <p:cNvSpPr/>
          <p:nvPr/>
        </p:nvSpPr>
        <p:spPr>
          <a:xfrm>
            <a:off x="5619107" y="5681181"/>
            <a:ext cx="4661361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ther sheets will be with test steps (Page wis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E16820-5EE1-41BB-AC52-54089247ED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684" y="2046396"/>
            <a:ext cx="8543925" cy="34861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C33B30D-B7C7-48E7-B223-E451CBD0E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4596" y="1401979"/>
            <a:ext cx="4819204" cy="362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90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C536D-0E6A-46EB-BBCA-BA91F760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4135"/>
            <a:ext cx="10515600" cy="775592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B1B93"/>
                </a:solidFill>
                <a:latin typeface="+mn-lt"/>
              </a:rPr>
              <a:t>Architecture of IPAT automation framework - Work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99CF11-9A6C-4489-A555-95841BA960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6482"/>
            <a:ext cx="10515600" cy="468531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F2D544E-536F-486A-89CF-3F4BF7439818}"/>
              </a:ext>
            </a:extLst>
          </p:cNvPr>
          <p:cNvSpPr txBox="1">
            <a:spLocks/>
          </p:cNvSpPr>
          <p:nvPr/>
        </p:nvSpPr>
        <p:spPr>
          <a:xfrm>
            <a:off x="838200" y="1506481"/>
            <a:ext cx="10515600" cy="4670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bject Repository (OR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08B0CE-0AC9-4B3A-ADD7-68A4ED724BAB}"/>
              </a:ext>
            </a:extLst>
          </p:cNvPr>
          <p:cNvSpPr/>
          <p:nvPr/>
        </p:nvSpPr>
        <p:spPr>
          <a:xfrm>
            <a:off x="8595366" y="3429000"/>
            <a:ext cx="2758434" cy="568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 Object Reposito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39E58A-B989-4671-857A-26C57731FA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9022" y="2062117"/>
            <a:ext cx="7316204" cy="401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507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3</TotalTime>
  <Words>612</Words>
  <Application>Microsoft Office PowerPoint</Application>
  <PresentationFormat>Widescreen</PresentationFormat>
  <Paragraphs>134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Wingdings</vt:lpstr>
      <vt:lpstr>Office Theme</vt:lpstr>
      <vt:lpstr>think-cell Slide</vt:lpstr>
      <vt:lpstr>ICW – Automation Approach</vt:lpstr>
      <vt:lpstr>Agenda</vt:lpstr>
      <vt:lpstr>PowerPoint Presentation</vt:lpstr>
      <vt:lpstr>ICW - Test Automation Process Driving efficiency &amp; coverage with a special focus on ICW functional automation Testing needs</vt:lpstr>
      <vt:lpstr>Benefits </vt:lpstr>
      <vt:lpstr>IPAT Vs Other Automation Frameworks</vt:lpstr>
      <vt:lpstr>Architecture of IPAT automation framework - Workflow</vt:lpstr>
      <vt:lpstr>Architecture of IPAT automation framework - Workflow</vt:lpstr>
      <vt:lpstr>Architecture of IPAT automation framework - Workflow</vt:lpstr>
      <vt:lpstr>Architecture of IPAT automation framework - Workflow</vt:lpstr>
      <vt:lpstr>Test Execution Report</vt:lpstr>
      <vt:lpstr>ICW – Automation Approach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ravan Gandla</dc:creator>
  <cp:lastModifiedBy>Mallikarjun Savanur</cp:lastModifiedBy>
  <cp:revision>24</cp:revision>
  <dcterms:created xsi:type="dcterms:W3CDTF">2021-12-06T22:03:26Z</dcterms:created>
  <dcterms:modified xsi:type="dcterms:W3CDTF">2022-01-27T11:22:37Z</dcterms:modified>
</cp:coreProperties>
</file>